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9" r:id="rId1"/>
    <p:sldMasterId id="2147483981" r:id="rId2"/>
  </p:sldMasterIdLst>
  <p:sldIdLst>
    <p:sldId id="256" r:id="rId3"/>
    <p:sldId id="257" r:id="rId4"/>
    <p:sldId id="273" r:id="rId5"/>
    <p:sldId id="275" r:id="rId6"/>
    <p:sldId id="276" r:id="rId7"/>
    <p:sldId id="277" r:id="rId8"/>
    <p:sldId id="279" r:id="rId9"/>
    <p:sldId id="278" r:id="rId10"/>
    <p:sldId id="282" r:id="rId11"/>
    <p:sldId id="286" r:id="rId12"/>
    <p:sldId id="280" r:id="rId13"/>
    <p:sldId id="281" r:id="rId14"/>
    <p:sldId id="283" r:id="rId15"/>
    <p:sldId id="284" r:id="rId16"/>
    <p:sldId id="285" r:id="rId17"/>
    <p:sldId id="287" r:id="rId18"/>
    <p:sldId id="289" r:id="rId19"/>
    <p:sldId id="290" r:id="rId20"/>
    <p:sldId id="291"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76" d="100"/>
          <a:sy n="76" d="100"/>
        </p:scale>
        <p:origin x="678"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C0177-3B9E-4A0A-9E0C-E232713B384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D7DEDA2-409E-47AB-A7A8-AC6A9E8797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C6A9956-F186-4525-9157-DEC545330325}"/>
              </a:ext>
            </a:extLst>
          </p:cNvPr>
          <p:cNvSpPr>
            <a:spLocks noGrp="1"/>
          </p:cNvSpPr>
          <p:nvPr>
            <p:ph type="dt" sz="half" idx="10"/>
          </p:nvPr>
        </p:nvSpPr>
        <p:spPr/>
        <p:txBody>
          <a:bodyPr/>
          <a:lstStyle/>
          <a:p>
            <a:fld id="{8F72BA41-EC5B-4197-BCC8-0FD2E523CD7A}" type="datetimeFigureOut">
              <a:rPr lang="en-US" smtClean="0"/>
              <a:t>3/5/2022</a:t>
            </a:fld>
            <a:endParaRPr lang="en-US"/>
          </a:p>
        </p:txBody>
      </p:sp>
      <p:sp>
        <p:nvSpPr>
          <p:cNvPr id="5" name="Footer Placeholder 4">
            <a:extLst>
              <a:ext uri="{FF2B5EF4-FFF2-40B4-BE49-F238E27FC236}">
                <a16:creationId xmlns:a16="http://schemas.microsoft.com/office/drawing/2014/main" id="{A4BD301F-B336-477D-A632-A4892D0C3E9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2FE04ED-9FA9-4034-9033-B04BEE2BADE8}"/>
              </a:ext>
            </a:extLst>
          </p:cNvPr>
          <p:cNvSpPr>
            <a:spLocks noGrp="1"/>
          </p:cNvSpPr>
          <p:nvPr>
            <p:ph type="sldNum" sz="quarter" idx="12"/>
          </p:nvPr>
        </p:nvSpPr>
        <p:spPr/>
        <p:txBody>
          <a:bodyPr/>
          <a:lstStyle/>
          <a:p>
            <a:fld id="{BE15108C-154A-4A5A-9C05-91A49A422BA7}" type="slidenum">
              <a:rPr lang="en-US" smtClean="0"/>
              <a:t>‹#›</a:t>
            </a:fld>
            <a:endParaRPr lang="en-US"/>
          </a:p>
        </p:txBody>
      </p:sp>
    </p:spTree>
    <p:extLst>
      <p:ext uri="{BB962C8B-B14F-4D97-AF65-F5344CB8AC3E}">
        <p14:creationId xmlns:p14="http://schemas.microsoft.com/office/powerpoint/2010/main" val="16718649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23A621-EEE0-4230-8CA1-FC7B77FFDA3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7F1910F-3951-430C-A784-9340A56CC33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005D96-21F9-4824-A26F-3A646F2200DF}"/>
              </a:ext>
            </a:extLst>
          </p:cNvPr>
          <p:cNvSpPr>
            <a:spLocks noGrp="1"/>
          </p:cNvSpPr>
          <p:nvPr>
            <p:ph type="dt" sz="half" idx="10"/>
          </p:nvPr>
        </p:nvSpPr>
        <p:spPr/>
        <p:txBody>
          <a:bodyPr/>
          <a:lstStyle/>
          <a:p>
            <a:fld id="{8F72BA41-EC5B-4197-BCC8-0FD2E523CD7A}" type="datetimeFigureOut">
              <a:rPr lang="en-US" smtClean="0"/>
              <a:t>3/5/2022</a:t>
            </a:fld>
            <a:endParaRPr lang="en-US"/>
          </a:p>
        </p:txBody>
      </p:sp>
      <p:sp>
        <p:nvSpPr>
          <p:cNvPr id="5" name="Footer Placeholder 4">
            <a:extLst>
              <a:ext uri="{FF2B5EF4-FFF2-40B4-BE49-F238E27FC236}">
                <a16:creationId xmlns:a16="http://schemas.microsoft.com/office/drawing/2014/main" id="{9FEB165E-4BD6-46FF-9B19-B3398F4557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76A8FA5-EF5F-4DCE-8965-706C8C948D4A}"/>
              </a:ext>
            </a:extLst>
          </p:cNvPr>
          <p:cNvSpPr>
            <a:spLocks noGrp="1"/>
          </p:cNvSpPr>
          <p:nvPr>
            <p:ph type="sldNum" sz="quarter" idx="12"/>
          </p:nvPr>
        </p:nvSpPr>
        <p:spPr/>
        <p:txBody>
          <a:bodyPr/>
          <a:lstStyle/>
          <a:p>
            <a:fld id="{BE15108C-154A-4A5A-9C05-91A49A422BA7}" type="slidenum">
              <a:rPr lang="en-US" smtClean="0"/>
              <a:t>‹#›</a:t>
            </a:fld>
            <a:endParaRPr lang="en-US"/>
          </a:p>
        </p:txBody>
      </p:sp>
    </p:spTree>
    <p:extLst>
      <p:ext uri="{BB962C8B-B14F-4D97-AF65-F5344CB8AC3E}">
        <p14:creationId xmlns:p14="http://schemas.microsoft.com/office/powerpoint/2010/main" val="17687772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2F95DC0-62EA-415A-AEC5-6A36FEF06FD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5B5F3E6-25FA-4959-9DC4-30A156139FF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A7A0DF-948B-429C-A0A6-3844E9C64217}"/>
              </a:ext>
            </a:extLst>
          </p:cNvPr>
          <p:cNvSpPr>
            <a:spLocks noGrp="1"/>
          </p:cNvSpPr>
          <p:nvPr>
            <p:ph type="dt" sz="half" idx="10"/>
          </p:nvPr>
        </p:nvSpPr>
        <p:spPr/>
        <p:txBody>
          <a:bodyPr/>
          <a:lstStyle/>
          <a:p>
            <a:fld id="{8F72BA41-EC5B-4197-BCC8-0FD2E523CD7A}" type="datetimeFigureOut">
              <a:rPr lang="en-US" smtClean="0"/>
              <a:t>3/5/2022</a:t>
            </a:fld>
            <a:endParaRPr lang="en-US"/>
          </a:p>
        </p:txBody>
      </p:sp>
      <p:sp>
        <p:nvSpPr>
          <p:cNvPr id="5" name="Footer Placeholder 4">
            <a:extLst>
              <a:ext uri="{FF2B5EF4-FFF2-40B4-BE49-F238E27FC236}">
                <a16:creationId xmlns:a16="http://schemas.microsoft.com/office/drawing/2014/main" id="{503B7868-013B-40A9-8706-A6B00972830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CA558A-8FA5-4D12-971A-AED022EE0B1D}"/>
              </a:ext>
            </a:extLst>
          </p:cNvPr>
          <p:cNvSpPr>
            <a:spLocks noGrp="1"/>
          </p:cNvSpPr>
          <p:nvPr>
            <p:ph type="sldNum" sz="quarter" idx="12"/>
          </p:nvPr>
        </p:nvSpPr>
        <p:spPr/>
        <p:txBody>
          <a:bodyPr/>
          <a:lstStyle/>
          <a:p>
            <a:fld id="{BE15108C-154A-4A5A-9C05-91A49A422BA7}" type="slidenum">
              <a:rPr lang="en-US" smtClean="0"/>
              <a:t>‹#›</a:t>
            </a:fld>
            <a:endParaRPr lang="en-US"/>
          </a:p>
        </p:txBody>
      </p:sp>
    </p:spTree>
    <p:extLst>
      <p:ext uri="{BB962C8B-B14F-4D97-AF65-F5344CB8AC3E}">
        <p14:creationId xmlns:p14="http://schemas.microsoft.com/office/powerpoint/2010/main" val="2619261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7D2BE-CE1B-49D4-9457-8EBCEE6BFF7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4BB387B-20B3-4750-97DD-C8D1DCD9E33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BB48576-6B2D-4255-82DE-2CF321BBCFB6}"/>
              </a:ext>
            </a:extLst>
          </p:cNvPr>
          <p:cNvSpPr>
            <a:spLocks noGrp="1"/>
          </p:cNvSpPr>
          <p:nvPr>
            <p:ph type="dt" sz="half" idx="10"/>
          </p:nvPr>
        </p:nvSpPr>
        <p:spPr/>
        <p:txBody>
          <a:bodyPr/>
          <a:lstStyle/>
          <a:p>
            <a:fld id="{8F72BA41-EC5B-4197-BCC8-0FD2E523CD7A}" type="datetimeFigureOut">
              <a:rPr lang="en-US" smtClean="0"/>
              <a:t>3/5/2022</a:t>
            </a:fld>
            <a:endParaRPr lang="en-US"/>
          </a:p>
        </p:txBody>
      </p:sp>
      <p:sp>
        <p:nvSpPr>
          <p:cNvPr id="5" name="Footer Placeholder 4">
            <a:extLst>
              <a:ext uri="{FF2B5EF4-FFF2-40B4-BE49-F238E27FC236}">
                <a16:creationId xmlns:a16="http://schemas.microsoft.com/office/drawing/2014/main" id="{21F78811-2D62-4596-89FE-0A6B2AD2446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BD54B3-6269-48EF-A742-0B15B01EE33E}"/>
              </a:ext>
            </a:extLst>
          </p:cNvPr>
          <p:cNvSpPr>
            <a:spLocks noGrp="1"/>
          </p:cNvSpPr>
          <p:nvPr>
            <p:ph type="sldNum" sz="quarter" idx="12"/>
          </p:nvPr>
        </p:nvSpPr>
        <p:spPr/>
        <p:txBody>
          <a:bodyPr/>
          <a:lstStyle/>
          <a:p>
            <a:fld id="{BE15108C-154A-4A5A-9C05-91A49A422BA7}" type="slidenum">
              <a:rPr lang="en-US" smtClean="0"/>
              <a:t>‹#›</a:t>
            </a:fld>
            <a:endParaRPr lang="en-US"/>
          </a:p>
        </p:txBody>
      </p:sp>
    </p:spTree>
    <p:extLst>
      <p:ext uri="{BB962C8B-B14F-4D97-AF65-F5344CB8AC3E}">
        <p14:creationId xmlns:p14="http://schemas.microsoft.com/office/powerpoint/2010/main" val="34490259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6BAC84-4254-4F0F-AB83-F7ACD52E93B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984C007-36E3-40D9-AD59-F800EE57D64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6734B0B-F595-45A8-ABD3-EE438077188D}"/>
              </a:ext>
            </a:extLst>
          </p:cNvPr>
          <p:cNvSpPr>
            <a:spLocks noGrp="1"/>
          </p:cNvSpPr>
          <p:nvPr>
            <p:ph type="dt" sz="half" idx="10"/>
          </p:nvPr>
        </p:nvSpPr>
        <p:spPr/>
        <p:txBody>
          <a:bodyPr/>
          <a:lstStyle/>
          <a:p>
            <a:fld id="{8F72BA41-EC5B-4197-BCC8-0FD2E523CD7A}" type="datetimeFigureOut">
              <a:rPr lang="en-US" smtClean="0"/>
              <a:t>3/5/2022</a:t>
            </a:fld>
            <a:endParaRPr lang="en-US"/>
          </a:p>
        </p:txBody>
      </p:sp>
      <p:sp>
        <p:nvSpPr>
          <p:cNvPr id="5" name="Footer Placeholder 4">
            <a:extLst>
              <a:ext uri="{FF2B5EF4-FFF2-40B4-BE49-F238E27FC236}">
                <a16:creationId xmlns:a16="http://schemas.microsoft.com/office/drawing/2014/main" id="{114D36AC-4CE8-4144-9471-E85D7A381DC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C97232-C967-4EED-B21A-FFE051CCF9A3}"/>
              </a:ext>
            </a:extLst>
          </p:cNvPr>
          <p:cNvSpPr>
            <a:spLocks noGrp="1"/>
          </p:cNvSpPr>
          <p:nvPr>
            <p:ph type="sldNum" sz="quarter" idx="12"/>
          </p:nvPr>
        </p:nvSpPr>
        <p:spPr/>
        <p:txBody>
          <a:bodyPr/>
          <a:lstStyle/>
          <a:p>
            <a:fld id="{BE15108C-154A-4A5A-9C05-91A49A422BA7}" type="slidenum">
              <a:rPr lang="en-US" smtClean="0"/>
              <a:t>‹#›</a:t>
            </a:fld>
            <a:endParaRPr lang="en-US"/>
          </a:p>
        </p:txBody>
      </p:sp>
    </p:spTree>
    <p:extLst>
      <p:ext uri="{BB962C8B-B14F-4D97-AF65-F5344CB8AC3E}">
        <p14:creationId xmlns:p14="http://schemas.microsoft.com/office/powerpoint/2010/main" val="790376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3A340-389E-418C-96BF-E6BA28532B2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816428D-3930-4C8F-B125-12B6E71EBD2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39BD03C-1C75-4A9E-BBFD-AB6B0D0F157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AF2447C-E598-46F9-B997-C110121D59B0}"/>
              </a:ext>
            </a:extLst>
          </p:cNvPr>
          <p:cNvSpPr>
            <a:spLocks noGrp="1"/>
          </p:cNvSpPr>
          <p:nvPr>
            <p:ph type="dt" sz="half" idx="10"/>
          </p:nvPr>
        </p:nvSpPr>
        <p:spPr/>
        <p:txBody>
          <a:bodyPr/>
          <a:lstStyle/>
          <a:p>
            <a:fld id="{8F72BA41-EC5B-4197-BCC8-0FD2E523CD7A}" type="datetimeFigureOut">
              <a:rPr lang="en-US" smtClean="0"/>
              <a:t>3/5/2022</a:t>
            </a:fld>
            <a:endParaRPr lang="en-US"/>
          </a:p>
        </p:txBody>
      </p:sp>
      <p:sp>
        <p:nvSpPr>
          <p:cNvPr id="6" name="Footer Placeholder 5">
            <a:extLst>
              <a:ext uri="{FF2B5EF4-FFF2-40B4-BE49-F238E27FC236}">
                <a16:creationId xmlns:a16="http://schemas.microsoft.com/office/drawing/2014/main" id="{F584E126-EBED-47BD-BF3E-929C29D6F79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B950859-FF82-4719-A068-39F635F2D59A}"/>
              </a:ext>
            </a:extLst>
          </p:cNvPr>
          <p:cNvSpPr>
            <a:spLocks noGrp="1"/>
          </p:cNvSpPr>
          <p:nvPr>
            <p:ph type="sldNum" sz="quarter" idx="12"/>
          </p:nvPr>
        </p:nvSpPr>
        <p:spPr/>
        <p:txBody>
          <a:bodyPr/>
          <a:lstStyle/>
          <a:p>
            <a:fld id="{BE15108C-154A-4A5A-9C05-91A49A422BA7}" type="slidenum">
              <a:rPr lang="en-US" smtClean="0"/>
              <a:t>‹#›</a:t>
            </a:fld>
            <a:endParaRPr lang="en-US"/>
          </a:p>
        </p:txBody>
      </p:sp>
    </p:spTree>
    <p:extLst>
      <p:ext uri="{BB962C8B-B14F-4D97-AF65-F5344CB8AC3E}">
        <p14:creationId xmlns:p14="http://schemas.microsoft.com/office/powerpoint/2010/main" val="19056666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085E12-EA6A-493C-AEC0-070A01EF4B4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C845F83-31D0-4705-B75A-79458B95FC8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FE35F23-F627-4168-AB17-036E9950A88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373948E-5151-4BF0-B574-7FD650C96E7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51DEC28-1880-4F36-BF34-8BDE237350B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19737C2-9F9D-4341-A0F8-817F0A1C92FA}"/>
              </a:ext>
            </a:extLst>
          </p:cNvPr>
          <p:cNvSpPr>
            <a:spLocks noGrp="1"/>
          </p:cNvSpPr>
          <p:nvPr>
            <p:ph type="dt" sz="half" idx="10"/>
          </p:nvPr>
        </p:nvSpPr>
        <p:spPr/>
        <p:txBody>
          <a:bodyPr/>
          <a:lstStyle/>
          <a:p>
            <a:fld id="{8F72BA41-EC5B-4197-BCC8-0FD2E523CD7A}" type="datetimeFigureOut">
              <a:rPr lang="en-US" smtClean="0"/>
              <a:t>3/5/2022</a:t>
            </a:fld>
            <a:endParaRPr lang="en-US"/>
          </a:p>
        </p:txBody>
      </p:sp>
      <p:sp>
        <p:nvSpPr>
          <p:cNvPr id="8" name="Footer Placeholder 7">
            <a:extLst>
              <a:ext uri="{FF2B5EF4-FFF2-40B4-BE49-F238E27FC236}">
                <a16:creationId xmlns:a16="http://schemas.microsoft.com/office/drawing/2014/main" id="{2C228506-EDFB-4DD1-B4D5-1A53878904E3}"/>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E71D17B3-D21F-42A8-A99D-FECD64EB24FE}"/>
              </a:ext>
            </a:extLst>
          </p:cNvPr>
          <p:cNvSpPr>
            <a:spLocks noGrp="1"/>
          </p:cNvSpPr>
          <p:nvPr>
            <p:ph type="sldNum" sz="quarter" idx="12"/>
          </p:nvPr>
        </p:nvSpPr>
        <p:spPr/>
        <p:txBody>
          <a:bodyPr/>
          <a:lstStyle/>
          <a:p>
            <a:fld id="{BE15108C-154A-4A5A-9C05-91A49A422BA7}" type="slidenum">
              <a:rPr lang="en-US" smtClean="0"/>
              <a:t>‹#›</a:t>
            </a:fld>
            <a:endParaRPr lang="en-US"/>
          </a:p>
        </p:txBody>
      </p:sp>
    </p:spTree>
    <p:extLst>
      <p:ext uri="{BB962C8B-B14F-4D97-AF65-F5344CB8AC3E}">
        <p14:creationId xmlns:p14="http://schemas.microsoft.com/office/powerpoint/2010/main" val="40522825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4A347-D941-44D7-94AB-7805D8797BB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C44D84C-611B-427D-B6E4-A8A46180F1F1}"/>
              </a:ext>
            </a:extLst>
          </p:cNvPr>
          <p:cNvSpPr>
            <a:spLocks noGrp="1"/>
          </p:cNvSpPr>
          <p:nvPr>
            <p:ph type="dt" sz="half" idx="10"/>
          </p:nvPr>
        </p:nvSpPr>
        <p:spPr/>
        <p:txBody>
          <a:bodyPr/>
          <a:lstStyle/>
          <a:p>
            <a:fld id="{8F72BA41-EC5B-4197-BCC8-0FD2E523CD7A}" type="datetimeFigureOut">
              <a:rPr lang="en-US" smtClean="0"/>
              <a:t>3/5/2022</a:t>
            </a:fld>
            <a:endParaRPr lang="en-US"/>
          </a:p>
        </p:txBody>
      </p:sp>
      <p:sp>
        <p:nvSpPr>
          <p:cNvPr id="4" name="Footer Placeholder 3">
            <a:extLst>
              <a:ext uri="{FF2B5EF4-FFF2-40B4-BE49-F238E27FC236}">
                <a16:creationId xmlns:a16="http://schemas.microsoft.com/office/drawing/2014/main" id="{2067184E-43E2-4AA9-A470-39078E4D906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6B013DF-AE41-47B5-B098-8B880DD445C5}"/>
              </a:ext>
            </a:extLst>
          </p:cNvPr>
          <p:cNvSpPr>
            <a:spLocks noGrp="1"/>
          </p:cNvSpPr>
          <p:nvPr>
            <p:ph type="sldNum" sz="quarter" idx="12"/>
          </p:nvPr>
        </p:nvSpPr>
        <p:spPr/>
        <p:txBody>
          <a:bodyPr/>
          <a:lstStyle/>
          <a:p>
            <a:fld id="{BE15108C-154A-4A5A-9C05-91A49A422BA7}" type="slidenum">
              <a:rPr lang="en-US" smtClean="0"/>
              <a:t>‹#›</a:t>
            </a:fld>
            <a:endParaRPr lang="en-US"/>
          </a:p>
        </p:txBody>
      </p:sp>
    </p:spTree>
    <p:extLst>
      <p:ext uri="{BB962C8B-B14F-4D97-AF65-F5344CB8AC3E}">
        <p14:creationId xmlns:p14="http://schemas.microsoft.com/office/powerpoint/2010/main" val="23036354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5DF4C3-194D-4B6B-BB60-793C4CB367AA}"/>
              </a:ext>
            </a:extLst>
          </p:cNvPr>
          <p:cNvSpPr>
            <a:spLocks noGrp="1"/>
          </p:cNvSpPr>
          <p:nvPr>
            <p:ph type="dt" sz="half" idx="10"/>
          </p:nvPr>
        </p:nvSpPr>
        <p:spPr/>
        <p:txBody>
          <a:bodyPr/>
          <a:lstStyle/>
          <a:p>
            <a:fld id="{8F72BA41-EC5B-4197-BCC8-0FD2E523CD7A}" type="datetimeFigureOut">
              <a:rPr lang="en-US" smtClean="0"/>
              <a:t>3/5/2022</a:t>
            </a:fld>
            <a:endParaRPr lang="en-US"/>
          </a:p>
        </p:txBody>
      </p:sp>
      <p:sp>
        <p:nvSpPr>
          <p:cNvPr id="3" name="Footer Placeholder 2">
            <a:extLst>
              <a:ext uri="{FF2B5EF4-FFF2-40B4-BE49-F238E27FC236}">
                <a16:creationId xmlns:a16="http://schemas.microsoft.com/office/drawing/2014/main" id="{EDAC21F4-8EB5-4193-8F6C-748E8C5470F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98EF6FD-67FF-467C-99D4-7299864B46E2}"/>
              </a:ext>
            </a:extLst>
          </p:cNvPr>
          <p:cNvSpPr>
            <a:spLocks noGrp="1"/>
          </p:cNvSpPr>
          <p:nvPr>
            <p:ph type="sldNum" sz="quarter" idx="12"/>
          </p:nvPr>
        </p:nvSpPr>
        <p:spPr/>
        <p:txBody>
          <a:bodyPr/>
          <a:lstStyle/>
          <a:p>
            <a:fld id="{BE15108C-154A-4A5A-9C05-91A49A422BA7}" type="slidenum">
              <a:rPr lang="en-US" smtClean="0"/>
              <a:t>‹#›</a:t>
            </a:fld>
            <a:endParaRPr lang="en-US"/>
          </a:p>
        </p:txBody>
      </p:sp>
    </p:spTree>
    <p:extLst>
      <p:ext uri="{BB962C8B-B14F-4D97-AF65-F5344CB8AC3E}">
        <p14:creationId xmlns:p14="http://schemas.microsoft.com/office/powerpoint/2010/main" val="18621384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85461D-AAC9-40BD-B84D-3F99789671F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A321B62-EAA0-4CEC-AF94-43B12DCAD0C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C712592-5586-4CBD-97D6-B6AFB9C5623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9D690D-A33C-4B16-97ED-B5EA101643A7}"/>
              </a:ext>
            </a:extLst>
          </p:cNvPr>
          <p:cNvSpPr>
            <a:spLocks noGrp="1"/>
          </p:cNvSpPr>
          <p:nvPr>
            <p:ph type="dt" sz="half" idx="10"/>
          </p:nvPr>
        </p:nvSpPr>
        <p:spPr/>
        <p:txBody>
          <a:bodyPr/>
          <a:lstStyle/>
          <a:p>
            <a:fld id="{8F72BA41-EC5B-4197-BCC8-0FD2E523CD7A}" type="datetimeFigureOut">
              <a:rPr lang="en-US" smtClean="0"/>
              <a:t>3/5/2022</a:t>
            </a:fld>
            <a:endParaRPr lang="en-US"/>
          </a:p>
        </p:txBody>
      </p:sp>
      <p:sp>
        <p:nvSpPr>
          <p:cNvPr id="6" name="Footer Placeholder 5">
            <a:extLst>
              <a:ext uri="{FF2B5EF4-FFF2-40B4-BE49-F238E27FC236}">
                <a16:creationId xmlns:a16="http://schemas.microsoft.com/office/drawing/2014/main" id="{4F41C16D-B754-40EE-BF8D-D25A5199BC3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02998D6-EA6D-4889-9861-30C87DA9BEF4}"/>
              </a:ext>
            </a:extLst>
          </p:cNvPr>
          <p:cNvSpPr>
            <a:spLocks noGrp="1"/>
          </p:cNvSpPr>
          <p:nvPr>
            <p:ph type="sldNum" sz="quarter" idx="12"/>
          </p:nvPr>
        </p:nvSpPr>
        <p:spPr/>
        <p:txBody>
          <a:bodyPr/>
          <a:lstStyle/>
          <a:p>
            <a:fld id="{BE15108C-154A-4A5A-9C05-91A49A422BA7}" type="slidenum">
              <a:rPr lang="en-US" smtClean="0"/>
              <a:t>‹#›</a:t>
            </a:fld>
            <a:endParaRPr lang="en-US"/>
          </a:p>
        </p:txBody>
      </p:sp>
    </p:spTree>
    <p:extLst>
      <p:ext uri="{BB962C8B-B14F-4D97-AF65-F5344CB8AC3E}">
        <p14:creationId xmlns:p14="http://schemas.microsoft.com/office/powerpoint/2010/main" val="20245619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681624-312C-4395-B7EA-4EEDFAD9C25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DD0F3DD-A357-4641-A446-243AC6C33D5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8DC9FFF-EA30-4B2A-AFBA-F467A55F68A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ED4B172-6DFA-4990-8B99-709B8A172DC4}"/>
              </a:ext>
            </a:extLst>
          </p:cNvPr>
          <p:cNvSpPr>
            <a:spLocks noGrp="1"/>
          </p:cNvSpPr>
          <p:nvPr>
            <p:ph type="dt" sz="half" idx="10"/>
          </p:nvPr>
        </p:nvSpPr>
        <p:spPr/>
        <p:txBody>
          <a:bodyPr/>
          <a:lstStyle/>
          <a:p>
            <a:fld id="{8F72BA41-EC5B-4197-BCC8-0FD2E523CD7A}" type="datetimeFigureOut">
              <a:rPr lang="en-US" smtClean="0"/>
              <a:t>3/5/2022</a:t>
            </a:fld>
            <a:endParaRPr lang="en-US"/>
          </a:p>
        </p:txBody>
      </p:sp>
      <p:sp>
        <p:nvSpPr>
          <p:cNvPr id="6" name="Footer Placeholder 5">
            <a:extLst>
              <a:ext uri="{FF2B5EF4-FFF2-40B4-BE49-F238E27FC236}">
                <a16:creationId xmlns:a16="http://schemas.microsoft.com/office/drawing/2014/main" id="{F633815D-7E42-4C55-9188-76D7CAB028B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A176CB0-CD77-46CC-BF9C-99CEAC90BF9F}"/>
              </a:ext>
            </a:extLst>
          </p:cNvPr>
          <p:cNvSpPr>
            <a:spLocks noGrp="1"/>
          </p:cNvSpPr>
          <p:nvPr>
            <p:ph type="sldNum" sz="quarter" idx="12"/>
          </p:nvPr>
        </p:nvSpPr>
        <p:spPr/>
        <p:txBody>
          <a:bodyPr/>
          <a:lstStyle/>
          <a:p>
            <a:fld id="{BE15108C-154A-4A5A-9C05-91A49A422BA7}" type="slidenum">
              <a:rPr lang="en-US" smtClean="0"/>
              <a:t>‹#›</a:t>
            </a:fld>
            <a:endParaRPr lang="en-US"/>
          </a:p>
        </p:txBody>
      </p:sp>
    </p:spTree>
    <p:extLst>
      <p:ext uri="{BB962C8B-B14F-4D97-AF65-F5344CB8AC3E}">
        <p14:creationId xmlns:p14="http://schemas.microsoft.com/office/powerpoint/2010/main" val="20069532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image" Target="../media/image2.png"/><Relationship Id="rId2" Type="http://schemas.openxmlformats.org/officeDocument/2006/relationships/vmlDrawing" Target="../drawings/vmlDrawing1.vml"/><Relationship Id="rId1" Type="http://schemas.openxmlformats.org/officeDocument/2006/relationships/theme" Target="../theme/theme2.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8FA57D3-B3F4-4378-AC8A-0014E28F79E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7605BC7-BF6B-43AD-BC99-5D15E7A912E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7DF27FB-B687-4F94-9090-9FE5A684666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F72BA41-EC5B-4197-BCC8-0FD2E523CD7A}" type="datetimeFigureOut">
              <a:rPr lang="en-US" smtClean="0"/>
              <a:pPr/>
              <a:t>3/5/2022</a:t>
            </a:fld>
            <a:endParaRPr lang="en-US" dirty="0"/>
          </a:p>
        </p:txBody>
      </p:sp>
      <p:sp>
        <p:nvSpPr>
          <p:cNvPr id="5" name="Footer Placeholder 4">
            <a:extLst>
              <a:ext uri="{FF2B5EF4-FFF2-40B4-BE49-F238E27FC236}">
                <a16:creationId xmlns:a16="http://schemas.microsoft.com/office/drawing/2014/main" id="{C9AE8C82-4BE1-4E93-B7BA-B942D5783E2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1580902E-9E22-4A67-972A-886CC1FD60A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E15108C-154A-4A5A-9C05-91A49A422BA7}" type="slidenum">
              <a:rPr lang="en-US" smtClean="0"/>
              <a:pPr/>
              <a:t>‹#›</a:t>
            </a:fld>
            <a:endParaRPr lang="en-US" dirty="0"/>
          </a:p>
        </p:txBody>
      </p:sp>
    </p:spTree>
    <p:extLst>
      <p:ext uri="{BB962C8B-B14F-4D97-AF65-F5344CB8AC3E}">
        <p14:creationId xmlns:p14="http://schemas.microsoft.com/office/powerpoint/2010/main" val="3547715487"/>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F6381C0-9AF2-46D8-8456-5DFA0330587F}"/>
              </a:ext>
            </a:extLst>
          </p:cNvPr>
          <p:cNvGraphicFramePr>
            <a:graphicFrameLocks noChangeAspect="1"/>
          </p:cNvGraphicFramePr>
          <p:nvPr userDrawn="1">
            <p:custDataLst>
              <p:tags r:id="rId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44" name="think-cell Slide" r:id="rId5" imgW="360" imgH="360" progId="TCLayout.ActiveDocument.1">
                  <p:embed/>
                </p:oleObj>
              </mc:Choice>
              <mc:Fallback>
                <p:oleObj name="think-cell Slide" r:id="rId5" imgW="360" imgH="360" progId="TCLayout.ActiveDocument.1">
                  <p:embed/>
                  <p:pic>
                    <p:nvPicPr>
                      <p:cNvPr id="6" name="Object 5" hidden="1">
                        <a:extLst>
                          <a:ext uri="{FF2B5EF4-FFF2-40B4-BE49-F238E27FC236}">
                            <a16:creationId xmlns:a16="http://schemas.microsoft.com/office/drawing/2014/main" id="{8F6381C0-9AF2-46D8-8456-5DFA0330587F}"/>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AB4C4B2-4F89-4CA8-8D42-2E7197F8B240}"/>
              </a:ext>
            </a:extLst>
          </p:cNvPr>
          <p:cNvSpPr/>
          <p:nvPr userDrawn="1">
            <p:custDataLst>
              <p:tags r:id="rId4"/>
            </p:custDataLst>
          </p:nvPr>
        </p:nvSpPr>
        <p:spPr>
          <a:xfrm>
            <a:off x="0" y="0"/>
            <a:ext cx="211667" cy="211667"/>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4267">
              <a:solidFill>
                <a:srgbClr val="FFFFFF"/>
              </a:solidFill>
              <a:latin typeface="Tele-GroteskUlt" pitchFamily="2" charset="0"/>
              <a:sym typeface="Tele-GroteskUlt" pitchFamily="2" charset="0"/>
            </a:endParaRPr>
          </a:p>
        </p:txBody>
      </p:sp>
      <p:sp>
        <p:nvSpPr>
          <p:cNvPr id="13" name="Slide Number Placeholder 5"/>
          <p:cNvSpPr txBox="1">
            <a:spLocks/>
          </p:cNvSpPr>
          <p:nvPr userDrawn="1"/>
        </p:nvSpPr>
        <p:spPr>
          <a:xfrm>
            <a:off x="90313" y="6584881"/>
            <a:ext cx="1038577" cy="202143"/>
          </a:xfrm>
          <a:prstGeom prst="rect">
            <a:avLst/>
          </a:prstGeom>
        </p:spPr>
        <p:txBody>
          <a:bodyPr vert="horz" lIns="91575" tIns="45787" rIns="91575" bIns="45787" rtlCol="0" anchor="ctr"/>
          <a:lstStyle>
            <a:defPPr>
              <a:defRPr lang="en-US"/>
            </a:defPPr>
            <a:lvl1pPr marL="0" algn="l" defTabSz="343403" rtl="0" eaLnBrk="1" latinLnBrk="0" hangingPunct="1">
              <a:defRPr sz="900" kern="1200">
                <a:solidFill>
                  <a:srgbClr val="FFFFFF"/>
                </a:solidFill>
                <a:latin typeface="Tele-GroteskHal" pitchFamily="2" charset="0"/>
                <a:ea typeface="+mn-ea"/>
                <a:cs typeface="+mn-cs"/>
              </a:defRPr>
            </a:lvl1pPr>
            <a:lvl2pPr marL="343403" algn="l" defTabSz="343403" rtl="0" eaLnBrk="1" latinLnBrk="0" hangingPunct="1">
              <a:defRPr sz="1400" kern="1200">
                <a:solidFill>
                  <a:schemeClr val="tx1"/>
                </a:solidFill>
                <a:latin typeface="+mn-lt"/>
                <a:ea typeface="+mn-ea"/>
                <a:cs typeface="+mn-cs"/>
              </a:defRPr>
            </a:lvl2pPr>
            <a:lvl3pPr marL="686806" algn="l" defTabSz="343403" rtl="0" eaLnBrk="1" latinLnBrk="0" hangingPunct="1">
              <a:defRPr sz="1400" kern="1200">
                <a:solidFill>
                  <a:schemeClr val="tx1"/>
                </a:solidFill>
                <a:latin typeface="+mn-lt"/>
                <a:ea typeface="+mn-ea"/>
                <a:cs typeface="+mn-cs"/>
              </a:defRPr>
            </a:lvl3pPr>
            <a:lvl4pPr marL="1030209" algn="l" defTabSz="343403" rtl="0" eaLnBrk="1" latinLnBrk="0" hangingPunct="1">
              <a:defRPr sz="1400" kern="1200">
                <a:solidFill>
                  <a:schemeClr val="tx1"/>
                </a:solidFill>
                <a:latin typeface="+mn-lt"/>
                <a:ea typeface="+mn-ea"/>
                <a:cs typeface="+mn-cs"/>
              </a:defRPr>
            </a:lvl4pPr>
            <a:lvl5pPr marL="1373612" algn="l" defTabSz="343403" rtl="0" eaLnBrk="1" latinLnBrk="0" hangingPunct="1">
              <a:defRPr sz="1400" kern="1200">
                <a:solidFill>
                  <a:schemeClr val="tx1"/>
                </a:solidFill>
                <a:latin typeface="+mn-lt"/>
                <a:ea typeface="+mn-ea"/>
                <a:cs typeface="+mn-cs"/>
              </a:defRPr>
            </a:lvl5pPr>
            <a:lvl6pPr marL="1717015" algn="l" defTabSz="343403" rtl="0" eaLnBrk="1" latinLnBrk="0" hangingPunct="1">
              <a:defRPr sz="1400" kern="1200">
                <a:solidFill>
                  <a:schemeClr val="tx1"/>
                </a:solidFill>
                <a:latin typeface="+mn-lt"/>
                <a:ea typeface="+mn-ea"/>
                <a:cs typeface="+mn-cs"/>
              </a:defRPr>
            </a:lvl6pPr>
            <a:lvl7pPr marL="2060418" algn="l" defTabSz="343403" rtl="0" eaLnBrk="1" latinLnBrk="0" hangingPunct="1">
              <a:defRPr sz="1400" kern="1200">
                <a:solidFill>
                  <a:schemeClr val="tx1"/>
                </a:solidFill>
                <a:latin typeface="+mn-lt"/>
                <a:ea typeface="+mn-ea"/>
                <a:cs typeface="+mn-cs"/>
              </a:defRPr>
            </a:lvl7pPr>
            <a:lvl8pPr marL="2403820" algn="l" defTabSz="343403" rtl="0" eaLnBrk="1" latinLnBrk="0" hangingPunct="1">
              <a:defRPr sz="1400" kern="1200">
                <a:solidFill>
                  <a:schemeClr val="tx1"/>
                </a:solidFill>
                <a:latin typeface="+mn-lt"/>
                <a:ea typeface="+mn-ea"/>
                <a:cs typeface="+mn-cs"/>
              </a:defRPr>
            </a:lvl8pPr>
            <a:lvl9pPr marL="2747223" algn="l" defTabSz="343403" rtl="0" eaLnBrk="1" latinLnBrk="0" hangingPunct="1">
              <a:defRPr sz="1400" kern="1200">
                <a:solidFill>
                  <a:schemeClr val="tx1"/>
                </a:solidFill>
                <a:latin typeface="+mn-lt"/>
                <a:ea typeface="+mn-ea"/>
                <a:cs typeface="+mn-cs"/>
              </a:defRPr>
            </a:lvl9pPr>
          </a:lstStyle>
          <a:p>
            <a:fld id="{1AF40C39-5108-E841-85F7-F0B9C0D30E8D}" type="slidenum">
              <a:rPr lang="en-US" sz="1200" smtClean="0"/>
              <a:pPr/>
              <a:t>‹#›</a:t>
            </a:fld>
            <a:endParaRPr lang="en-US" sz="1200"/>
          </a:p>
        </p:txBody>
      </p:sp>
      <p:sp>
        <p:nvSpPr>
          <p:cNvPr id="2" name="Title Placeholder 1"/>
          <p:cNvSpPr>
            <a:spLocks noGrp="1"/>
          </p:cNvSpPr>
          <p:nvPr>
            <p:ph type="title"/>
          </p:nvPr>
        </p:nvSpPr>
        <p:spPr>
          <a:xfrm>
            <a:off x="243840" y="195073"/>
            <a:ext cx="11216640" cy="737297"/>
          </a:xfrm>
          <a:prstGeom prst="rect">
            <a:avLst/>
          </a:prstGeom>
        </p:spPr>
        <p:txBody>
          <a:bodyPr vert="horz" lIns="68681" tIns="34340" rIns="68681" bIns="34340" rtlCol="0" anchor="ctr">
            <a:normAutofit/>
          </a:bodyPr>
          <a:lstStyle/>
          <a:p>
            <a:r>
              <a:rPr lang="en-US"/>
              <a:t>Title of Slide</a:t>
            </a:r>
          </a:p>
        </p:txBody>
      </p:sp>
      <p:sp>
        <p:nvSpPr>
          <p:cNvPr id="3" name="Text Placeholder 2"/>
          <p:cNvSpPr>
            <a:spLocks noGrp="1"/>
          </p:cNvSpPr>
          <p:nvPr>
            <p:ph type="body" idx="1"/>
          </p:nvPr>
        </p:nvSpPr>
        <p:spPr>
          <a:xfrm>
            <a:off x="243840" y="1170432"/>
            <a:ext cx="11692128" cy="5181600"/>
          </a:xfrm>
          <a:prstGeom prst="rect">
            <a:avLst/>
          </a:prstGeom>
        </p:spPr>
        <p:txBody>
          <a:bodyPr vert="horz" lIns="68681" tIns="34340" rIns="68681" bIns="34340" rtlCol="0">
            <a:normAutofit/>
          </a:bodyPr>
          <a:lstStyle/>
          <a:p>
            <a:pPr lvl="0"/>
            <a:r>
              <a:rPr lang="en-US"/>
              <a:t>Click to edit Master text styles</a:t>
            </a:r>
          </a:p>
          <a:p>
            <a:pPr lvl="1"/>
            <a:r>
              <a:rPr lang="en-US"/>
              <a:t>Second level</a:t>
            </a:r>
          </a:p>
          <a:p>
            <a:pPr lvl="2"/>
            <a:r>
              <a:rPr lang="en-US"/>
              <a:t>Third level</a:t>
            </a:r>
          </a:p>
          <a:p>
            <a:pPr lvl="3"/>
            <a:r>
              <a:rPr lang="en-US"/>
              <a:t>Forth level</a:t>
            </a:r>
          </a:p>
        </p:txBody>
      </p:sp>
      <p:sp>
        <p:nvSpPr>
          <p:cNvPr id="5" name="Footer Placeholder 4"/>
          <p:cNvSpPr>
            <a:spLocks noGrp="1"/>
          </p:cNvSpPr>
          <p:nvPr>
            <p:ph type="ftr" sz="quarter" idx="3"/>
          </p:nvPr>
        </p:nvSpPr>
        <p:spPr>
          <a:xfrm>
            <a:off x="4165600" y="6584881"/>
            <a:ext cx="3860800" cy="202143"/>
          </a:xfrm>
          <a:prstGeom prst="rect">
            <a:avLst/>
          </a:prstGeom>
        </p:spPr>
        <p:txBody>
          <a:bodyPr vert="horz" lIns="68681" tIns="34340" rIns="68681" bIns="34340" rtlCol="0" anchor="ctr"/>
          <a:lstStyle>
            <a:lvl1pPr algn="ctr">
              <a:defRPr sz="1200" b="0" i="0">
                <a:solidFill>
                  <a:schemeClr val="bg1"/>
                </a:solidFill>
                <a:latin typeface="Tele-GroteskHal" pitchFamily="2" charset="0"/>
                <a:cs typeface="Tele-GroteskHal" pitchFamily="2" charset="0"/>
              </a:defRPr>
            </a:lvl1pPr>
          </a:lstStyle>
          <a:p>
            <a:r>
              <a:rPr lang="en-US">
                <a:solidFill>
                  <a:srgbClr val="FFFFFF"/>
                </a:solidFill>
              </a:rPr>
              <a:t>T-Mobile Confidential</a:t>
            </a:r>
          </a:p>
        </p:txBody>
      </p:sp>
      <p:pic>
        <p:nvPicPr>
          <p:cNvPr id="7" name="Picture 6" descr="T-Mobile Standard RO White.png"/>
          <p:cNvPicPr>
            <a:picLocks noChangeAspect="1"/>
          </p:cNvPicPr>
          <p:nvPr userDrawn="1"/>
        </p:nvPicPr>
        <p:blipFill>
          <a:blip r:embed="rId7"/>
          <a:stretch>
            <a:fillRect/>
          </a:stretch>
        </p:blipFill>
        <p:spPr>
          <a:xfrm>
            <a:off x="11230324" y="6619746"/>
            <a:ext cx="780288" cy="126797"/>
          </a:xfrm>
          <a:prstGeom prst="rect">
            <a:avLst/>
          </a:prstGeom>
        </p:spPr>
      </p:pic>
    </p:spTree>
    <p:extLst>
      <p:ext uri="{BB962C8B-B14F-4D97-AF65-F5344CB8AC3E}">
        <p14:creationId xmlns:p14="http://schemas.microsoft.com/office/powerpoint/2010/main" val="484475010"/>
      </p:ext>
    </p:extLst>
  </p:cSld>
  <p:clrMap bg1="lt1" tx1="dk1" bg2="lt2" tx2="dk2" accent1="accent1" accent2="accent2" accent3="accent3" accent4="accent4" accent5="accent5" accent6="accent6" hlink="hlink" folHlink="folHlink"/>
  <p:hf sldNum="0" hdr="0" dt="0"/>
  <p:txStyles>
    <p:titleStyle>
      <a:lvl1pPr algn="l" defTabSz="457859" rtl="0" eaLnBrk="1" latinLnBrk="0" hangingPunct="1">
        <a:spcBef>
          <a:spcPct val="0"/>
        </a:spcBef>
        <a:buNone/>
        <a:defRPr sz="4267" b="0" i="0" kern="1200">
          <a:solidFill>
            <a:srgbClr val="E20074"/>
          </a:solidFill>
          <a:latin typeface="Tele-GroteskUlt" pitchFamily="2" charset="0"/>
          <a:ea typeface="+mj-ea"/>
          <a:cs typeface="Tele-GroteskUlt" pitchFamily="2" charset="0"/>
        </a:defRPr>
      </a:lvl1pPr>
    </p:titleStyle>
    <p:bodyStyle>
      <a:lvl1pPr marL="343394" indent="-343394" algn="l" defTabSz="457859" rtl="0" eaLnBrk="1" latinLnBrk="0" hangingPunct="1">
        <a:spcBef>
          <a:spcPct val="20000"/>
        </a:spcBef>
        <a:buClr>
          <a:schemeClr val="accent1"/>
        </a:buClr>
        <a:buFont typeface="Wingdings" panose="05000000000000000000" pitchFamily="2" charset="2"/>
        <a:buChar char="§"/>
        <a:defRPr sz="3200" b="0" i="0" kern="1200">
          <a:solidFill>
            <a:schemeClr val="tx1">
              <a:lumMod val="85000"/>
              <a:lumOff val="15000"/>
            </a:schemeClr>
          </a:solidFill>
          <a:latin typeface="+mj-lt"/>
          <a:ea typeface="+mn-ea"/>
          <a:cs typeface="Arial" pitchFamily="34" charset="0"/>
        </a:defRPr>
      </a:lvl1pPr>
      <a:lvl2pPr marL="744021" indent="-286162" algn="l" defTabSz="457859" rtl="0" eaLnBrk="1" latinLnBrk="0" hangingPunct="1">
        <a:spcBef>
          <a:spcPct val="20000"/>
        </a:spcBef>
        <a:buClr>
          <a:schemeClr val="accent1"/>
        </a:buClr>
        <a:buFont typeface="Wingdings" panose="05000000000000000000" pitchFamily="2" charset="2"/>
        <a:buChar char="§"/>
        <a:defRPr sz="2400" b="0" i="0" kern="1200">
          <a:solidFill>
            <a:schemeClr val="tx1">
              <a:lumMod val="85000"/>
              <a:lumOff val="15000"/>
            </a:schemeClr>
          </a:solidFill>
          <a:latin typeface="+mn-lt"/>
          <a:ea typeface="+mn-ea"/>
          <a:cs typeface="Arial" pitchFamily="34" charset="0"/>
        </a:defRPr>
      </a:lvl2pPr>
      <a:lvl3pPr marL="1144647" indent="-228929" algn="l" defTabSz="457859" rtl="0" eaLnBrk="1" latinLnBrk="0" hangingPunct="1">
        <a:spcBef>
          <a:spcPct val="20000"/>
        </a:spcBef>
        <a:buClr>
          <a:schemeClr val="accent1"/>
        </a:buClr>
        <a:buFont typeface="Wingdings" panose="05000000000000000000" pitchFamily="2" charset="2"/>
        <a:buChar char="§"/>
        <a:defRPr sz="2000" b="0" i="0" kern="1200">
          <a:solidFill>
            <a:schemeClr val="tx1">
              <a:lumMod val="85000"/>
              <a:lumOff val="15000"/>
            </a:schemeClr>
          </a:solidFill>
          <a:latin typeface="+mn-lt"/>
          <a:ea typeface="+mn-ea"/>
          <a:cs typeface="Arial" pitchFamily="34" charset="0"/>
        </a:defRPr>
      </a:lvl3pPr>
      <a:lvl4pPr marL="1602507" indent="-228929" algn="l" defTabSz="457859" rtl="0" eaLnBrk="1" latinLnBrk="0" hangingPunct="1">
        <a:spcBef>
          <a:spcPct val="20000"/>
        </a:spcBef>
        <a:buClr>
          <a:schemeClr val="accent1"/>
        </a:buClr>
        <a:buFont typeface="Wingdings" panose="05000000000000000000" pitchFamily="2" charset="2"/>
        <a:buChar char="§"/>
        <a:defRPr sz="1600" b="0" i="0" kern="1200">
          <a:solidFill>
            <a:schemeClr val="tx1">
              <a:lumMod val="85000"/>
              <a:lumOff val="15000"/>
            </a:schemeClr>
          </a:solidFill>
          <a:latin typeface="+mn-lt"/>
          <a:ea typeface="+mn-ea"/>
          <a:cs typeface="Arial" pitchFamily="34" charset="0"/>
        </a:defRPr>
      </a:lvl4pPr>
      <a:lvl5pPr marL="2060366" indent="-228929" algn="l" defTabSz="457859" rtl="0" eaLnBrk="1" latinLnBrk="0" hangingPunct="1">
        <a:spcBef>
          <a:spcPct val="20000"/>
        </a:spcBef>
        <a:buClr>
          <a:schemeClr val="accent1"/>
        </a:buClr>
        <a:buFont typeface="Wingdings" panose="05000000000000000000" pitchFamily="2" charset="2"/>
        <a:buChar char="§"/>
        <a:defRPr sz="1600" b="0" i="0" kern="1200">
          <a:solidFill>
            <a:schemeClr val="tx1">
              <a:lumMod val="75000"/>
              <a:lumOff val="25000"/>
            </a:schemeClr>
          </a:solidFill>
          <a:latin typeface="+mn-lt"/>
          <a:ea typeface="+mn-ea"/>
          <a:cs typeface="Arial" pitchFamily="34" charset="0"/>
        </a:defRPr>
      </a:lvl5pPr>
      <a:lvl6pPr marL="2518225" indent="-228929" algn="l" defTabSz="457859" rtl="0" eaLnBrk="1" latinLnBrk="0" hangingPunct="1">
        <a:spcBef>
          <a:spcPct val="20000"/>
        </a:spcBef>
        <a:buFont typeface="Arial"/>
        <a:buChar char="•"/>
        <a:defRPr sz="2000" kern="1200">
          <a:solidFill>
            <a:schemeClr val="tx1"/>
          </a:solidFill>
          <a:latin typeface="+mn-lt"/>
          <a:ea typeface="+mn-ea"/>
          <a:cs typeface="+mn-cs"/>
        </a:defRPr>
      </a:lvl6pPr>
      <a:lvl7pPr marL="2976084" indent="-228929" algn="l" defTabSz="457859" rtl="0" eaLnBrk="1" latinLnBrk="0" hangingPunct="1">
        <a:spcBef>
          <a:spcPct val="20000"/>
        </a:spcBef>
        <a:buFont typeface="Arial"/>
        <a:buChar char="•"/>
        <a:defRPr sz="2000" kern="1200">
          <a:solidFill>
            <a:schemeClr val="tx1"/>
          </a:solidFill>
          <a:latin typeface="+mn-lt"/>
          <a:ea typeface="+mn-ea"/>
          <a:cs typeface="+mn-cs"/>
        </a:defRPr>
      </a:lvl7pPr>
      <a:lvl8pPr marL="3433943" indent="-228929" algn="l" defTabSz="457859" rtl="0" eaLnBrk="1" latinLnBrk="0" hangingPunct="1">
        <a:spcBef>
          <a:spcPct val="20000"/>
        </a:spcBef>
        <a:buFont typeface="Arial"/>
        <a:buChar char="•"/>
        <a:defRPr sz="2000" kern="1200">
          <a:solidFill>
            <a:schemeClr val="tx1"/>
          </a:solidFill>
          <a:latin typeface="+mn-lt"/>
          <a:ea typeface="+mn-ea"/>
          <a:cs typeface="+mn-cs"/>
        </a:defRPr>
      </a:lvl8pPr>
      <a:lvl9pPr marL="3891803" indent="-228929" algn="l" defTabSz="45785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859" rtl="0" eaLnBrk="1" latinLnBrk="0" hangingPunct="1">
        <a:defRPr sz="1867" kern="1200">
          <a:solidFill>
            <a:schemeClr val="tx1"/>
          </a:solidFill>
          <a:latin typeface="+mn-lt"/>
          <a:ea typeface="+mn-ea"/>
          <a:cs typeface="+mn-cs"/>
        </a:defRPr>
      </a:lvl1pPr>
      <a:lvl2pPr marL="457859" algn="l" defTabSz="457859" rtl="0" eaLnBrk="1" latinLnBrk="0" hangingPunct="1">
        <a:defRPr sz="1867" kern="1200">
          <a:solidFill>
            <a:schemeClr val="tx1"/>
          </a:solidFill>
          <a:latin typeface="+mn-lt"/>
          <a:ea typeface="+mn-ea"/>
          <a:cs typeface="+mn-cs"/>
        </a:defRPr>
      </a:lvl2pPr>
      <a:lvl3pPr marL="915718" algn="l" defTabSz="457859" rtl="0" eaLnBrk="1" latinLnBrk="0" hangingPunct="1">
        <a:defRPr sz="1867" kern="1200">
          <a:solidFill>
            <a:schemeClr val="tx1"/>
          </a:solidFill>
          <a:latin typeface="+mn-lt"/>
          <a:ea typeface="+mn-ea"/>
          <a:cs typeface="+mn-cs"/>
        </a:defRPr>
      </a:lvl3pPr>
      <a:lvl4pPr marL="1373578" algn="l" defTabSz="457859" rtl="0" eaLnBrk="1" latinLnBrk="0" hangingPunct="1">
        <a:defRPr sz="1867" kern="1200">
          <a:solidFill>
            <a:schemeClr val="tx1"/>
          </a:solidFill>
          <a:latin typeface="+mn-lt"/>
          <a:ea typeface="+mn-ea"/>
          <a:cs typeface="+mn-cs"/>
        </a:defRPr>
      </a:lvl4pPr>
      <a:lvl5pPr marL="1831437" algn="l" defTabSz="457859" rtl="0" eaLnBrk="1" latinLnBrk="0" hangingPunct="1">
        <a:defRPr sz="1867" kern="1200">
          <a:solidFill>
            <a:schemeClr val="tx1"/>
          </a:solidFill>
          <a:latin typeface="+mn-lt"/>
          <a:ea typeface="+mn-ea"/>
          <a:cs typeface="+mn-cs"/>
        </a:defRPr>
      </a:lvl5pPr>
      <a:lvl6pPr marL="2289296" algn="l" defTabSz="457859" rtl="0" eaLnBrk="1" latinLnBrk="0" hangingPunct="1">
        <a:defRPr sz="1867" kern="1200">
          <a:solidFill>
            <a:schemeClr val="tx1"/>
          </a:solidFill>
          <a:latin typeface="+mn-lt"/>
          <a:ea typeface="+mn-ea"/>
          <a:cs typeface="+mn-cs"/>
        </a:defRPr>
      </a:lvl6pPr>
      <a:lvl7pPr marL="2747155" algn="l" defTabSz="457859" rtl="0" eaLnBrk="1" latinLnBrk="0" hangingPunct="1">
        <a:defRPr sz="1867" kern="1200">
          <a:solidFill>
            <a:schemeClr val="tx1"/>
          </a:solidFill>
          <a:latin typeface="+mn-lt"/>
          <a:ea typeface="+mn-ea"/>
          <a:cs typeface="+mn-cs"/>
        </a:defRPr>
      </a:lvl7pPr>
      <a:lvl8pPr marL="3205013" algn="l" defTabSz="457859" rtl="0" eaLnBrk="1" latinLnBrk="0" hangingPunct="1">
        <a:defRPr sz="1867" kern="1200">
          <a:solidFill>
            <a:schemeClr val="tx1"/>
          </a:solidFill>
          <a:latin typeface="+mn-lt"/>
          <a:ea typeface="+mn-ea"/>
          <a:cs typeface="+mn-cs"/>
        </a:defRPr>
      </a:lvl8pPr>
      <a:lvl9pPr marL="3662872" algn="l" defTabSz="457859" rtl="0" eaLnBrk="1" latinLnBrk="0" hangingPunct="1">
        <a:defRPr sz="186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hemeOverride" Target="../theme/themeOverride1.xml"/><Relationship Id="rId4" Type="http://schemas.openxmlformats.org/officeDocument/2006/relationships/image" Target="../media/image4.svg"/></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hyperlink" Target="https://www.kaggle.com/palashfendarkar/wa-fnusec-telcocustomerchurn"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5" name="Freeform 14">
            <a:extLst>
              <a:ext uri="{FF2B5EF4-FFF2-40B4-BE49-F238E27FC236}">
                <a16:creationId xmlns:a16="http://schemas.microsoft.com/office/drawing/2014/main" id="{6FC11E2E-9797-4FEA-90FD-894E32A208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448626"/>
            <a:ext cx="6738450" cy="1409374"/>
          </a:xfrm>
          <a:custGeom>
            <a:avLst/>
            <a:gdLst>
              <a:gd name="connsiteX0" fmla="*/ 0 w 6738450"/>
              <a:gd name="connsiteY0" fmla="*/ 0 h 1409374"/>
              <a:gd name="connsiteX1" fmla="*/ 6738450 w 6738450"/>
              <a:gd name="connsiteY1" fmla="*/ 0 h 1409374"/>
              <a:gd name="connsiteX2" fmla="*/ 6085725 w 6738450"/>
              <a:gd name="connsiteY2" fmla="*/ 1409374 h 1409374"/>
              <a:gd name="connsiteX3" fmla="*/ 1524000 w 6738450"/>
              <a:gd name="connsiteY3" fmla="*/ 1409374 h 1409374"/>
              <a:gd name="connsiteX4" fmla="*/ 1200418 w 6738450"/>
              <a:gd name="connsiteY4" fmla="*/ 1409374 h 1409374"/>
              <a:gd name="connsiteX5" fmla="*/ 0 w 6738450"/>
              <a:gd name="connsiteY5" fmla="*/ 1409374 h 140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38450" h="1409374">
                <a:moveTo>
                  <a:pt x="0" y="0"/>
                </a:moveTo>
                <a:lnTo>
                  <a:pt x="6738450" y="0"/>
                </a:lnTo>
                <a:lnTo>
                  <a:pt x="6085725" y="1409374"/>
                </a:lnTo>
                <a:lnTo>
                  <a:pt x="1524000" y="1409374"/>
                </a:lnTo>
                <a:lnTo>
                  <a:pt x="1200418" y="1409374"/>
                </a:lnTo>
                <a:lnTo>
                  <a:pt x="0" y="1409374"/>
                </a:lnTo>
                <a:close/>
              </a:path>
            </a:pathLst>
          </a:custGeom>
          <a:solidFill>
            <a:schemeClr val="tx1">
              <a:lumMod val="50000"/>
              <a:lumOff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useBgFill="1">
        <p:nvSpPr>
          <p:cNvPr id="459" name="Freeform 33">
            <a:extLst>
              <a:ext uri="{FF2B5EF4-FFF2-40B4-BE49-F238E27FC236}">
                <a16:creationId xmlns:a16="http://schemas.microsoft.com/office/drawing/2014/main" id="{F8828EFD-56F8-4B00-9A0D-B623CC074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102096" y="3608996"/>
            <a:ext cx="4522796" cy="3249004"/>
          </a:xfrm>
          <a:custGeom>
            <a:avLst/>
            <a:gdLst>
              <a:gd name="connsiteX0" fmla="*/ 3018081 w 4522796"/>
              <a:gd name="connsiteY0" fmla="*/ 0 h 3249004"/>
              <a:gd name="connsiteX1" fmla="*/ 0 w 4522796"/>
              <a:gd name="connsiteY1" fmla="*/ 0 h 3249004"/>
              <a:gd name="connsiteX2" fmla="*/ 0 w 4522796"/>
              <a:gd name="connsiteY2" fmla="*/ 3249004 h 3249004"/>
              <a:gd name="connsiteX3" fmla="*/ 4522796 w 4522796"/>
              <a:gd name="connsiteY3" fmla="*/ 3249004 h 3249004"/>
            </a:gdLst>
            <a:ahLst/>
            <a:cxnLst>
              <a:cxn ang="0">
                <a:pos x="connsiteX0" y="connsiteY0"/>
              </a:cxn>
              <a:cxn ang="0">
                <a:pos x="connsiteX1" y="connsiteY1"/>
              </a:cxn>
              <a:cxn ang="0">
                <a:pos x="connsiteX2" y="connsiteY2"/>
              </a:cxn>
              <a:cxn ang="0">
                <a:pos x="connsiteX3" y="connsiteY3"/>
              </a:cxn>
            </a:cxnLst>
            <a:rect l="l" t="t" r="r" b="b"/>
            <a:pathLst>
              <a:path w="4522796" h="3249004">
                <a:moveTo>
                  <a:pt x="3018081" y="0"/>
                </a:moveTo>
                <a:lnTo>
                  <a:pt x="0" y="0"/>
                </a:lnTo>
                <a:lnTo>
                  <a:pt x="0" y="3249004"/>
                </a:lnTo>
                <a:lnTo>
                  <a:pt x="4522796" y="324900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1"/>
          </a:p>
        </p:txBody>
      </p:sp>
      <p:sp>
        <p:nvSpPr>
          <p:cNvPr id="2" name="Title 1">
            <a:extLst>
              <a:ext uri="{FF2B5EF4-FFF2-40B4-BE49-F238E27FC236}">
                <a16:creationId xmlns:a16="http://schemas.microsoft.com/office/drawing/2014/main" id="{54E2AAC5-9392-4F39-93E5-3A10A55E4E9D}"/>
              </a:ext>
            </a:extLst>
          </p:cNvPr>
          <p:cNvSpPr>
            <a:spLocks noGrp="1"/>
          </p:cNvSpPr>
          <p:nvPr>
            <p:ph type="ctrTitle"/>
          </p:nvPr>
        </p:nvSpPr>
        <p:spPr>
          <a:xfrm>
            <a:off x="1524000" y="3011117"/>
            <a:ext cx="6618051" cy="1355750"/>
          </a:xfrm>
        </p:spPr>
        <p:txBody>
          <a:bodyPr vert="horz" lIns="91440" tIns="45720" rIns="91440" bIns="45720" rtlCol="0">
            <a:normAutofit/>
          </a:bodyPr>
          <a:lstStyle/>
          <a:p>
            <a:pPr algn="l"/>
            <a:r>
              <a:rPr lang="en-US" sz="5000" kern="1200">
                <a:latin typeface="+mj-lt"/>
                <a:ea typeface="+mj-ea"/>
                <a:cs typeface="+mj-cs"/>
              </a:rPr>
              <a:t>Telecom Churn Analysis</a:t>
            </a:r>
          </a:p>
        </p:txBody>
      </p:sp>
      <p:sp>
        <p:nvSpPr>
          <p:cNvPr id="83" name="Subtitle 2">
            <a:extLst>
              <a:ext uri="{FF2B5EF4-FFF2-40B4-BE49-F238E27FC236}">
                <a16:creationId xmlns:a16="http://schemas.microsoft.com/office/drawing/2014/main" id="{2784A96F-3693-4A12-A34C-D15403E27275}"/>
              </a:ext>
            </a:extLst>
          </p:cNvPr>
          <p:cNvSpPr>
            <a:spLocks noGrp="1"/>
          </p:cNvSpPr>
          <p:nvPr>
            <p:ph type="subTitle" idx="1"/>
          </p:nvPr>
        </p:nvSpPr>
        <p:spPr>
          <a:xfrm>
            <a:off x="1524000" y="4373823"/>
            <a:ext cx="6618051" cy="911117"/>
          </a:xfrm>
        </p:spPr>
        <p:txBody>
          <a:bodyPr vert="horz" lIns="91440" tIns="45720" rIns="91440" bIns="45720" rtlCol="0">
            <a:normAutofit/>
          </a:bodyPr>
          <a:lstStyle/>
          <a:p>
            <a:pPr algn="l"/>
            <a:r>
              <a:rPr lang="en-US" sz="2000"/>
              <a:t>DSC 530</a:t>
            </a:r>
          </a:p>
          <a:p>
            <a:pPr algn="l"/>
            <a:r>
              <a:rPr lang="en-US" sz="2000"/>
              <a:t>Mohamed Idhrees Sanaulla</a:t>
            </a:r>
          </a:p>
        </p:txBody>
      </p:sp>
      <p:sp>
        <p:nvSpPr>
          <p:cNvPr id="460" name="Freeform 24">
            <a:extLst>
              <a:ext uri="{FF2B5EF4-FFF2-40B4-BE49-F238E27FC236}">
                <a16:creationId xmlns:a16="http://schemas.microsoft.com/office/drawing/2014/main" id="{3D4697C8-4A0D-4493-B526-7CC15E0EE5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920618" cy="2896258"/>
          </a:xfrm>
          <a:custGeom>
            <a:avLst/>
            <a:gdLst>
              <a:gd name="connsiteX0" fmla="*/ 0 w 5920618"/>
              <a:gd name="connsiteY0" fmla="*/ 0 h 2896258"/>
              <a:gd name="connsiteX1" fmla="*/ 3191370 w 5920618"/>
              <a:gd name="connsiteY1" fmla="*/ 0 h 2896258"/>
              <a:gd name="connsiteX2" fmla="*/ 3346315 w 5920618"/>
              <a:gd name="connsiteY2" fmla="*/ 0 h 2896258"/>
              <a:gd name="connsiteX3" fmla="*/ 5920618 w 5920618"/>
              <a:gd name="connsiteY3" fmla="*/ 0 h 2896258"/>
              <a:gd name="connsiteX4" fmla="*/ 4583705 w 5920618"/>
              <a:gd name="connsiteY4" fmla="*/ 2896258 h 2896258"/>
              <a:gd name="connsiteX5" fmla="*/ 3346315 w 5920618"/>
              <a:gd name="connsiteY5" fmla="*/ 2896258 h 2896258"/>
              <a:gd name="connsiteX6" fmla="*/ 1854457 w 5920618"/>
              <a:gd name="connsiteY6" fmla="*/ 2896258 h 2896258"/>
              <a:gd name="connsiteX7" fmla="*/ 0 w 5920618"/>
              <a:gd name="connsiteY7" fmla="*/ 2896258 h 2896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20618" h="2896258">
                <a:moveTo>
                  <a:pt x="0" y="0"/>
                </a:moveTo>
                <a:lnTo>
                  <a:pt x="3191370" y="0"/>
                </a:lnTo>
                <a:lnTo>
                  <a:pt x="3346315" y="0"/>
                </a:lnTo>
                <a:lnTo>
                  <a:pt x="5920618" y="0"/>
                </a:lnTo>
                <a:lnTo>
                  <a:pt x="4583705" y="2896258"/>
                </a:lnTo>
                <a:lnTo>
                  <a:pt x="3346315" y="2896258"/>
                </a:lnTo>
                <a:lnTo>
                  <a:pt x="1854457" y="2896258"/>
                </a:lnTo>
                <a:lnTo>
                  <a:pt x="0" y="2896258"/>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4" name="Graphic 83" descr="Smart Phone">
            <a:extLst>
              <a:ext uri="{FF2B5EF4-FFF2-40B4-BE49-F238E27FC236}">
                <a16:creationId xmlns:a16="http://schemas.microsoft.com/office/drawing/2014/main" id="{22CA0F9F-22C3-478E-B37F-F0F279FA739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72791" y="1184748"/>
            <a:ext cx="3079129" cy="3079129"/>
          </a:xfrm>
          <a:prstGeom prst="rect">
            <a:avLst/>
          </a:prstGeom>
        </p:spPr>
      </p:pic>
      <p:sp>
        <p:nvSpPr>
          <p:cNvPr id="90" name="Freeform 15">
            <a:extLst>
              <a:ext uri="{FF2B5EF4-FFF2-40B4-BE49-F238E27FC236}">
                <a16:creationId xmlns:a16="http://schemas.microsoft.com/office/drawing/2014/main" id="{A085B63A-2D2F-4B09-9BFB-E2080686C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266810" y="5448626"/>
            <a:ext cx="5925190" cy="1409374"/>
          </a:xfrm>
          <a:custGeom>
            <a:avLst/>
            <a:gdLst>
              <a:gd name="connsiteX0" fmla="*/ 652725 w 5925190"/>
              <a:gd name="connsiteY0" fmla="*/ 0 h 1409374"/>
              <a:gd name="connsiteX1" fmla="*/ 5925190 w 5925190"/>
              <a:gd name="connsiteY1" fmla="*/ 0 h 1409374"/>
              <a:gd name="connsiteX2" fmla="*/ 5925190 w 5925190"/>
              <a:gd name="connsiteY2" fmla="*/ 1409374 h 1409374"/>
              <a:gd name="connsiteX3" fmla="*/ 0 w 5925190"/>
              <a:gd name="connsiteY3" fmla="*/ 1409374 h 1409374"/>
            </a:gdLst>
            <a:ahLst/>
            <a:cxnLst>
              <a:cxn ang="0">
                <a:pos x="connsiteX0" y="connsiteY0"/>
              </a:cxn>
              <a:cxn ang="0">
                <a:pos x="connsiteX1" y="connsiteY1"/>
              </a:cxn>
              <a:cxn ang="0">
                <a:pos x="connsiteX2" y="connsiteY2"/>
              </a:cxn>
              <a:cxn ang="0">
                <a:pos x="connsiteX3" y="connsiteY3"/>
              </a:cxn>
            </a:cxnLst>
            <a:rect l="l" t="t" r="r" b="b"/>
            <a:pathLst>
              <a:path w="5925190" h="1409374">
                <a:moveTo>
                  <a:pt x="652725" y="0"/>
                </a:moveTo>
                <a:lnTo>
                  <a:pt x="5925190" y="0"/>
                </a:lnTo>
                <a:lnTo>
                  <a:pt x="5925190" y="1409374"/>
                </a:lnTo>
                <a:lnTo>
                  <a:pt x="0" y="1409374"/>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2858272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9919C-FC7F-49AF-8F05-DEA3D4CD1B7B}"/>
              </a:ext>
            </a:extLst>
          </p:cNvPr>
          <p:cNvSpPr>
            <a:spLocks noGrp="1"/>
          </p:cNvSpPr>
          <p:nvPr>
            <p:ph type="title"/>
          </p:nvPr>
        </p:nvSpPr>
        <p:spPr>
          <a:xfrm>
            <a:off x="1653363" y="365760"/>
            <a:ext cx="9367203" cy="701894"/>
          </a:xfrm>
        </p:spPr>
        <p:txBody>
          <a:bodyPr>
            <a:normAutofit/>
          </a:bodyPr>
          <a:lstStyle/>
          <a:p>
            <a:r>
              <a:rPr lang="en-US" kern="1200" dirty="0">
                <a:solidFill>
                  <a:schemeClr val="tx1"/>
                </a:solidFill>
                <a:latin typeface="+mj-lt"/>
                <a:ea typeface="+mj-ea"/>
                <a:cs typeface="+mj-cs"/>
              </a:rPr>
              <a:t>Explore Dataset and Variables</a:t>
            </a:r>
            <a:endParaRPr lang="en-US" dirty="0"/>
          </a:p>
        </p:txBody>
      </p:sp>
      <p:sp>
        <p:nvSpPr>
          <p:cNvPr id="172" name="Freeform: Shape 110">
            <a:extLst>
              <a:ext uri="{FF2B5EF4-FFF2-40B4-BE49-F238E27FC236}">
                <a16:creationId xmlns:a16="http://schemas.microsoft.com/office/drawing/2014/main" id="{7CB4857B-ED7C-444D-9F04-2F885114A1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764099" cy="1558212"/>
          </a:xfrm>
          <a:custGeom>
            <a:avLst/>
            <a:gdLst>
              <a:gd name="connsiteX0" fmla="*/ 0 w 1764099"/>
              <a:gd name="connsiteY0" fmla="*/ 0 h 1558212"/>
              <a:gd name="connsiteX1" fmla="*/ 1764099 w 1764099"/>
              <a:gd name="connsiteY1" fmla="*/ 0 h 1558212"/>
              <a:gd name="connsiteX2" fmla="*/ 1042087 w 1764099"/>
              <a:gd name="connsiteY2" fmla="*/ 1558212 h 1558212"/>
              <a:gd name="connsiteX3" fmla="*/ 0 w 1764099"/>
              <a:gd name="connsiteY3" fmla="*/ 1558212 h 1558212"/>
            </a:gdLst>
            <a:ahLst/>
            <a:cxnLst>
              <a:cxn ang="0">
                <a:pos x="connsiteX0" y="connsiteY0"/>
              </a:cxn>
              <a:cxn ang="0">
                <a:pos x="connsiteX1" y="connsiteY1"/>
              </a:cxn>
              <a:cxn ang="0">
                <a:pos x="connsiteX2" y="connsiteY2"/>
              </a:cxn>
              <a:cxn ang="0">
                <a:pos x="connsiteX3" y="connsiteY3"/>
              </a:cxn>
            </a:cxnLst>
            <a:rect l="l" t="t" r="r" b="b"/>
            <a:pathLst>
              <a:path w="1764099" h="1558212">
                <a:moveTo>
                  <a:pt x="0" y="0"/>
                </a:moveTo>
                <a:lnTo>
                  <a:pt x="1764099" y="0"/>
                </a:lnTo>
                <a:lnTo>
                  <a:pt x="1042087" y="1558212"/>
                </a:lnTo>
                <a:lnTo>
                  <a:pt x="0" y="1558212"/>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3" name="Freeform: Shape 112">
            <a:extLst>
              <a:ext uri="{FF2B5EF4-FFF2-40B4-BE49-F238E27FC236}">
                <a16:creationId xmlns:a16="http://schemas.microsoft.com/office/drawing/2014/main" id="{D18046FB-44EA-4FD8-A585-EA09A319B2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691640"/>
            <a:ext cx="12191999" cy="5166360"/>
          </a:xfrm>
          <a:custGeom>
            <a:avLst/>
            <a:gdLst>
              <a:gd name="connsiteX0" fmla="*/ 0 w 12191999"/>
              <a:gd name="connsiteY0" fmla="*/ 0 h 5166360"/>
              <a:gd name="connsiteX1" fmla="*/ 1822388 w 12191999"/>
              <a:gd name="connsiteY1" fmla="*/ 0 h 5166360"/>
              <a:gd name="connsiteX2" fmla="*/ 6468290 w 12191999"/>
              <a:gd name="connsiteY2" fmla="*/ 0 h 5166360"/>
              <a:gd name="connsiteX3" fmla="*/ 7796394 w 12191999"/>
              <a:gd name="connsiteY3" fmla="*/ 0 h 5166360"/>
              <a:gd name="connsiteX4" fmla="*/ 8376834 w 12191999"/>
              <a:gd name="connsiteY4" fmla="*/ 0 h 5166360"/>
              <a:gd name="connsiteX5" fmla="*/ 9704938 w 12191999"/>
              <a:gd name="connsiteY5" fmla="*/ 0 h 5166360"/>
              <a:gd name="connsiteX6" fmla="*/ 9704938 w 12191999"/>
              <a:gd name="connsiteY6" fmla="*/ 2 h 5166360"/>
              <a:gd name="connsiteX7" fmla="*/ 10283456 w 12191999"/>
              <a:gd name="connsiteY7" fmla="*/ 2 h 5166360"/>
              <a:gd name="connsiteX8" fmla="*/ 10863897 w 12191999"/>
              <a:gd name="connsiteY8" fmla="*/ 2 h 5166360"/>
              <a:gd name="connsiteX9" fmla="*/ 12191999 w 12191999"/>
              <a:gd name="connsiteY9" fmla="*/ 2 h 5166360"/>
              <a:gd name="connsiteX10" fmla="*/ 12191999 w 12191999"/>
              <a:gd name="connsiteY10" fmla="*/ 5166360 h 5166360"/>
              <a:gd name="connsiteX11" fmla="*/ 0 w 12191999"/>
              <a:gd name="connsiteY11" fmla="*/ 5166360 h 5166360"/>
              <a:gd name="connsiteX12" fmla="*/ 0 w 12191999"/>
              <a:gd name="connsiteY12" fmla="*/ 2604436 h 5166360"/>
              <a:gd name="connsiteX13" fmla="*/ 862341 w 12191999"/>
              <a:gd name="connsiteY13" fmla="*/ 743371 h 5166360"/>
              <a:gd name="connsiteX14" fmla="*/ 0 w 12191999"/>
              <a:gd name="connsiteY14" fmla="*/ 743371 h 5166360"/>
              <a:gd name="connsiteX15" fmla="*/ 0 w 12191999"/>
              <a:gd name="connsiteY15" fmla="*/ 742508 h 5166360"/>
              <a:gd name="connsiteX16" fmla="*/ 92826 w 12191999"/>
              <a:gd name="connsiteY16" fmla="*/ 742508 h 5166360"/>
              <a:gd name="connsiteX17" fmla="*/ 406486 w 12191999"/>
              <a:gd name="connsiteY17" fmla="*/ 742508 h 5166360"/>
              <a:gd name="connsiteX18" fmla="*/ 406486 w 12191999"/>
              <a:gd name="connsiteY18" fmla="*/ 742507 h 5166360"/>
              <a:gd name="connsiteX19" fmla="*/ 862741 w 12191999"/>
              <a:gd name="connsiteY19" fmla="*/ 742507 h 5166360"/>
              <a:gd name="connsiteX20" fmla="*/ 1206388 w 12191999"/>
              <a:gd name="connsiteY20" fmla="*/ 864 h 5166360"/>
              <a:gd name="connsiteX21" fmla="*/ 748500 w 12191999"/>
              <a:gd name="connsiteY21" fmla="*/ 864 h 5166360"/>
              <a:gd name="connsiteX22" fmla="*/ 0 w 12191999"/>
              <a:gd name="connsiteY22" fmla="*/ 864 h 516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91999" h="5166360">
                <a:moveTo>
                  <a:pt x="0" y="0"/>
                </a:moveTo>
                <a:lnTo>
                  <a:pt x="1822388" y="0"/>
                </a:lnTo>
                <a:lnTo>
                  <a:pt x="6468290" y="0"/>
                </a:lnTo>
                <a:lnTo>
                  <a:pt x="7796394" y="0"/>
                </a:lnTo>
                <a:lnTo>
                  <a:pt x="8376834" y="0"/>
                </a:lnTo>
                <a:lnTo>
                  <a:pt x="9704938" y="0"/>
                </a:lnTo>
                <a:lnTo>
                  <a:pt x="9704938" y="2"/>
                </a:lnTo>
                <a:lnTo>
                  <a:pt x="10283456" y="2"/>
                </a:lnTo>
                <a:lnTo>
                  <a:pt x="10863897" y="2"/>
                </a:lnTo>
                <a:lnTo>
                  <a:pt x="12191999" y="2"/>
                </a:lnTo>
                <a:lnTo>
                  <a:pt x="12191999" y="5166360"/>
                </a:lnTo>
                <a:lnTo>
                  <a:pt x="0" y="5166360"/>
                </a:lnTo>
                <a:lnTo>
                  <a:pt x="0" y="2604436"/>
                </a:lnTo>
                <a:lnTo>
                  <a:pt x="862341" y="743371"/>
                </a:lnTo>
                <a:lnTo>
                  <a:pt x="0" y="743371"/>
                </a:lnTo>
                <a:lnTo>
                  <a:pt x="0" y="742508"/>
                </a:lnTo>
                <a:lnTo>
                  <a:pt x="92826" y="742508"/>
                </a:lnTo>
                <a:lnTo>
                  <a:pt x="406486" y="742508"/>
                </a:lnTo>
                <a:lnTo>
                  <a:pt x="406486" y="742507"/>
                </a:lnTo>
                <a:lnTo>
                  <a:pt x="862741" y="742507"/>
                </a:lnTo>
                <a:lnTo>
                  <a:pt x="1206388" y="864"/>
                </a:lnTo>
                <a:lnTo>
                  <a:pt x="748500" y="864"/>
                </a:lnTo>
                <a:lnTo>
                  <a:pt x="0" y="864"/>
                </a:lnTo>
                <a:close/>
              </a:path>
            </a:pathLst>
          </a:custGeom>
          <a:solidFill>
            <a:srgbClr val="A6A6A6">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4" name="Freeform: Shape 114">
            <a:extLst>
              <a:ext uri="{FF2B5EF4-FFF2-40B4-BE49-F238E27FC236}">
                <a16:creationId xmlns:a16="http://schemas.microsoft.com/office/drawing/2014/main" id="{479F5F2B-8B58-4140-AE6A-51F6C67B18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691641"/>
            <a:ext cx="971654" cy="2096979"/>
          </a:xfrm>
          <a:custGeom>
            <a:avLst/>
            <a:gdLst>
              <a:gd name="connsiteX0" fmla="*/ 0 w 971654"/>
              <a:gd name="connsiteY0" fmla="*/ 0 h 2096979"/>
              <a:gd name="connsiteX1" fmla="*/ 971654 w 971654"/>
              <a:gd name="connsiteY1" fmla="*/ 0 h 2096979"/>
              <a:gd name="connsiteX2" fmla="*/ 0 w 971654"/>
              <a:gd name="connsiteY2" fmla="*/ 2096979 h 2096979"/>
            </a:gdLst>
            <a:ahLst/>
            <a:cxnLst>
              <a:cxn ang="0">
                <a:pos x="connsiteX0" y="connsiteY0"/>
              </a:cxn>
              <a:cxn ang="0">
                <a:pos x="connsiteX1" y="connsiteY1"/>
              </a:cxn>
              <a:cxn ang="0">
                <a:pos x="connsiteX2" y="connsiteY2"/>
              </a:cxn>
            </a:cxnLst>
            <a:rect l="l" t="t" r="r" b="b"/>
            <a:pathLst>
              <a:path w="971654" h="2096979">
                <a:moveTo>
                  <a:pt x="0" y="0"/>
                </a:moveTo>
                <a:lnTo>
                  <a:pt x="971654" y="0"/>
                </a:lnTo>
                <a:lnTo>
                  <a:pt x="0" y="2096979"/>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TextBox 18">
            <a:extLst>
              <a:ext uri="{FF2B5EF4-FFF2-40B4-BE49-F238E27FC236}">
                <a16:creationId xmlns:a16="http://schemas.microsoft.com/office/drawing/2014/main" id="{4E92F6BD-766C-4497-A187-1B5EED325982}"/>
              </a:ext>
            </a:extLst>
          </p:cNvPr>
          <p:cNvSpPr txBox="1"/>
          <p:nvPr/>
        </p:nvSpPr>
        <p:spPr>
          <a:xfrm>
            <a:off x="1466850" y="1677906"/>
            <a:ext cx="9734550" cy="369332"/>
          </a:xfrm>
          <a:prstGeom prst="rect">
            <a:avLst/>
          </a:prstGeom>
          <a:noFill/>
        </p:spPr>
        <p:txBody>
          <a:bodyPr wrap="square" rtlCol="0">
            <a:spAutoFit/>
          </a:bodyPr>
          <a:lstStyle>
            <a:defPPr>
              <a:defRPr lang="en-US"/>
            </a:defPPr>
            <a:lvl1pPr algn="ctr"/>
          </a:lstStyle>
          <a:p>
            <a:r>
              <a:rPr lang="en-US" dirty="0"/>
              <a:t>Churn vs Monthly Charges vs Total Charges- Histogram</a:t>
            </a:r>
          </a:p>
        </p:txBody>
      </p:sp>
      <p:pic>
        <p:nvPicPr>
          <p:cNvPr id="5122" name="Picture 2">
            <a:extLst>
              <a:ext uri="{FF2B5EF4-FFF2-40B4-BE49-F238E27FC236}">
                <a16:creationId xmlns:a16="http://schemas.microsoft.com/office/drawing/2014/main" id="{D2E0163D-7104-4FA4-BFF1-D8B7ED7D23C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04988" y="2047238"/>
            <a:ext cx="8582025" cy="5230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43422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9919C-FC7F-49AF-8F05-DEA3D4CD1B7B}"/>
              </a:ext>
            </a:extLst>
          </p:cNvPr>
          <p:cNvSpPr>
            <a:spLocks noGrp="1"/>
          </p:cNvSpPr>
          <p:nvPr>
            <p:ph type="title"/>
          </p:nvPr>
        </p:nvSpPr>
        <p:spPr>
          <a:xfrm>
            <a:off x="1653363" y="365760"/>
            <a:ext cx="9367203" cy="701894"/>
          </a:xfrm>
        </p:spPr>
        <p:txBody>
          <a:bodyPr>
            <a:normAutofit/>
          </a:bodyPr>
          <a:lstStyle/>
          <a:p>
            <a:r>
              <a:rPr lang="en-US" dirty="0"/>
              <a:t>Count, Mean, STD, MIN, Percentile, MAX</a:t>
            </a:r>
          </a:p>
        </p:txBody>
      </p:sp>
      <p:sp>
        <p:nvSpPr>
          <p:cNvPr id="172" name="Freeform: Shape 110">
            <a:extLst>
              <a:ext uri="{FF2B5EF4-FFF2-40B4-BE49-F238E27FC236}">
                <a16:creationId xmlns:a16="http://schemas.microsoft.com/office/drawing/2014/main" id="{7CB4857B-ED7C-444D-9F04-2F885114A1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764099" cy="1558212"/>
          </a:xfrm>
          <a:custGeom>
            <a:avLst/>
            <a:gdLst>
              <a:gd name="connsiteX0" fmla="*/ 0 w 1764099"/>
              <a:gd name="connsiteY0" fmla="*/ 0 h 1558212"/>
              <a:gd name="connsiteX1" fmla="*/ 1764099 w 1764099"/>
              <a:gd name="connsiteY1" fmla="*/ 0 h 1558212"/>
              <a:gd name="connsiteX2" fmla="*/ 1042087 w 1764099"/>
              <a:gd name="connsiteY2" fmla="*/ 1558212 h 1558212"/>
              <a:gd name="connsiteX3" fmla="*/ 0 w 1764099"/>
              <a:gd name="connsiteY3" fmla="*/ 1558212 h 1558212"/>
            </a:gdLst>
            <a:ahLst/>
            <a:cxnLst>
              <a:cxn ang="0">
                <a:pos x="connsiteX0" y="connsiteY0"/>
              </a:cxn>
              <a:cxn ang="0">
                <a:pos x="connsiteX1" y="connsiteY1"/>
              </a:cxn>
              <a:cxn ang="0">
                <a:pos x="connsiteX2" y="connsiteY2"/>
              </a:cxn>
              <a:cxn ang="0">
                <a:pos x="connsiteX3" y="connsiteY3"/>
              </a:cxn>
            </a:cxnLst>
            <a:rect l="l" t="t" r="r" b="b"/>
            <a:pathLst>
              <a:path w="1764099" h="1558212">
                <a:moveTo>
                  <a:pt x="0" y="0"/>
                </a:moveTo>
                <a:lnTo>
                  <a:pt x="1764099" y="0"/>
                </a:lnTo>
                <a:lnTo>
                  <a:pt x="1042087" y="1558212"/>
                </a:lnTo>
                <a:lnTo>
                  <a:pt x="0" y="1558212"/>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3" name="Freeform: Shape 112">
            <a:extLst>
              <a:ext uri="{FF2B5EF4-FFF2-40B4-BE49-F238E27FC236}">
                <a16:creationId xmlns:a16="http://schemas.microsoft.com/office/drawing/2014/main" id="{D18046FB-44EA-4FD8-A585-EA09A319B2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691640"/>
            <a:ext cx="12191999" cy="5166360"/>
          </a:xfrm>
          <a:custGeom>
            <a:avLst/>
            <a:gdLst>
              <a:gd name="connsiteX0" fmla="*/ 0 w 12191999"/>
              <a:gd name="connsiteY0" fmla="*/ 0 h 5166360"/>
              <a:gd name="connsiteX1" fmla="*/ 1822388 w 12191999"/>
              <a:gd name="connsiteY1" fmla="*/ 0 h 5166360"/>
              <a:gd name="connsiteX2" fmla="*/ 6468290 w 12191999"/>
              <a:gd name="connsiteY2" fmla="*/ 0 h 5166360"/>
              <a:gd name="connsiteX3" fmla="*/ 7796394 w 12191999"/>
              <a:gd name="connsiteY3" fmla="*/ 0 h 5166360"/>
              <a:gd name="connsiteX4" fmla="*/ 8376834 w 12191999"/>
              <a:gd name="connsiteY4" fmla="*/ 0 h 5166360"/>
              <a:gd name="connsiteX5" fmla="*/ 9704938 w 12191999"/>
              <a:gd name="connsiteY5" fmla="*/ 0 h 5166360"/>
              <a:gd name="connsiteX6" fmla="*/ 9704938 w 12191999"/>
              <a:gd name="connsiteY6" fmla="*/ 2 h 5166360"/>
              <a:gd name="connsiteX7" fmla="*/ 10283456 w 12191999"/>
              <a:gd name="connsiteY7" fmla="*/ 2 h 5166360"/>
              <a:gd name="connsiteX8" fmla="*/ 10863897 w 12191999"/>
              <a:gd name="connsiteY8" fmla="*/ 2 h 5166360"/>
              <a:gd name="connsiteX9" fmla="*/ 12191999 w 12191999"/>
              <a:gd name="connsiteY9" fmla="*/ 2 h 5166360"/>
              <a:gd name="connsiteX10" fmla="*/ 12191999 w 12191999"/>
              <a:gd name="connsiteY10" fmla="*/ 5166360 h 5166360"/>
              <a:gd name="connsiteX11" fmla="*/ 0 w 12191999"/>
              <a:gd name="connsiteY11" fmla="*/ 5166360 h 5166360"/>
              <a:gd name="connsiteX12" fmla="*/ 0 w 12191999"/>
              <a:gd name="connsiteY12" fmla="*/ 2604436 h 5166360"/>
              <a:gd name="connsiteX13" fmla="*/ 862341 w 12191999"/>
              <a:gd name="connsiteY13" fmla="*/ 743371 h 5166360"/>
              <a:gd name="connsiteX14" fmla="*/ 0 w 12191999"/>
              <a:gd name="connsiteY14" fmla="*/ 743371 h 5166360"/>
              <a:gd name="connsiteX15" fmla="*/ 0 w 12191999"/>
              <a:gd name="connsiteY15" fmla="*/ 742508 h 5166360"/>
              <a:gd name="connsiteX16" fmla="*/ 92826 w 12191999"/>
              <a:gd name="connsiteY16" fmla="*/ 742508 h 5166360"/>
              <a:gd name="connsiteX17" fmla="*/ 406486 w 12191999"/>
              <a:gd name="connsiteY17" fmla="*/ 742508 h 5166360"/>
              <a:gd name="connsiteX18" fmla="*/ 406486 w 12191999"/>
              <a:gd name="connsiteY18" fmla="*/ 742507 h 5166360"/>
              <a:gd name="connsiteX19" fmla="*/ 862741 w 12191999"/>
              <a:gd name="connsiteY19" fmla="*/ 742507 h 5166360"/>
              <a:gd name="connsiteX20" fmla="*/ 1206388 w 12191999"/>
              <a:gd name="connsiteY20" fmla="*/ 864 h 5166360"/>
              <a:gd name="connsiteX21" fmla="*/ 748500 w 12191999"/>
              <a:gd name="connsiteY21" fmla="*/ 864 h 5166360"/>
              <a:gd name="connsiteX22" fmla="*/ 0 w 12191999"/>
              <a:gd name="connsiteY22" fmla="*/ 864 h 516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91999" h="5166360">
                <a:moveTo>
                  <a:pt x="0" y="0"/>
                </a:moveTo>
                <a:lnTo>
                  <a:pt x="1822388" y="0"/>
                </a:lnTo>
                <a:lnTo>
                  <a:pt x="6468290" y="0"/>
                </a:lnTo>
                <a:lnTo>
                  <a:pt x="7796394" y="0"/>
                </a:lnTo>
                <a:lnTo>
                  <a:pt x="8376834" y="0"/>
                </a:lnTo>
                <a:lnTo>
                  <a:pt x="9704938" y="0"/>
                </a:lnTo>
                <a:lnTo>
                  <a:pt x="9704938" y="2"/>
                </a:lnTo>
                <a:lnTo>
                  <a:pt x="10283456" y="2"/>
                </a:lnTo>
                <a:lnTo>
                  <a:pt x="10863897" y="2"/>
                </a:lnTo>
                <a:lnTo>
                  <a:pt x="12191999" y="2"/>
                </a:lnTo>
                <a:lnTo>
                  <a:pt x="12191999" y="5166360"/>
                </a:lnTo>
                <a:lnTo>
                  <a:pt x="0" y="5166360"/>
                </a:lnTo>
                <a:lnTo>
                  <a:pt x="0" y="2604436"/>
                </a:lnTo>
                <a:lnTo>
                  <a:pt x="862341" y="743371"/>
                </a:lnTo>
                <a:lnTo>
                  <a:pt x="0" y="743371"/>
                </a:lnTo>
                <a:lnTo>
                  <a:pt x="0" y="742508"/>
                </a:lnTo>
                <a:lnTo>
                  <a:pt x="92826" y="742508"/>
                </a:lnTo>
                <a:lnTo>
                  <a:pt x="406486" y="742508"/>
                </a:lnTo>
                <a:lnTo>
                  <a:pt x="406486" y="742507"/>
                </a:lnTo>
                <a:lnTo>
                  <a:pt x="862741" y="742507"/>
                </a:lnTo>
                <a:lnTo>
                  <a:pt x="1206388" y="864"/>
                </a:lnTo>
                <a:lnTo>
                  <a:pt x="748500" y="864"/>
                </a:lnTo>
                <a:lnTo>
                  <a:pt x="0" y="864"/>
                </a:lnTo>
                <a:close/>
              </a:path>
            </a:pathLst>
          </a:custGeom>
          <a:solidFill>
            <a:srgbClr val="A6A6A6">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4" name="Freeform: Shape 114">
            <a:extLst>
              <a:ext uri="{FF2B5EF4-FFF2-40B4-BE49-F238E27FC236}">
                <a16:creationId xmlns:a16="http://schemas.microsoft.com/office/drawing/2014/main" id="{479F5F2B-8B58-4140-AE6A-51F6C67B18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691641"/>
            <a:ext cx="971654" cy="2096979"/>
          </a:xfrm>
          <a:custGeom>
            <a:avLst/>
            <a:gdLst>
              <a:gd name="connsiteX0" fmla="*/ 0 w 971654"/>
              <a:gd name="connsiteY0" fmla="*/ 0 h 2096979"/>
              <a:gd name="connsiteX1" fmla="*/ 971654 w 971654"/>
              <a:gd name="connsiteY1" fmla="*/ 0 h 2096979"/>
              <a:gd name="connsiteX2" fmla="*/ 0 w 971654"/>
              <a:gd name="connsiteY2" fmla="*/ 2096979 h 2096979"/>
            </a:gdLst>
            <a:ahLst/>
            <a:cxnLst>
              <a:cxn ang="0">
                <a:pos x="connsiteX0" y="connsiteY0"/>
              </a:cxn>
              <a:cxn ang="0">
                <a:pos x="connsiteX1" y="connsiteY1"/>
              </a:cxn>
              <a:cxn ang="0">
                <a:pos x="connsiteX2" y="connsiteY2"/>
              </a:cxn>
            </a:cxnLst>
            <a:rect l="l" t="t" r="r" b="b"/>
            <a:pathLst>
              <a:path w="971654" h="2096979">
                <a:moveTo>
                  <a:pt x="0" y="0"/>
                </a:moveTo>
                <a:lnTo>
                  <a:pt x="971654" y="0"/>
                </a:lnTo>
                <a:lnTo>
                  <a:pt x="0" y="2096979"/>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7" name="Content Placeholder 6">
            <a:extLst>
              <a:ext uri="{FF2B5EF4-FFF2-40B4-BE49-F238E27FC236}">
                <a16:creationId xmlns:a16="http://schemas.microsoft.com/office/drawing/2014/main" id="{D3AD0775-E6F4-4826-8633-3C4929EC01F6}"/>
              </a:ext>
            </a:extLst>
          </p:cNvPr>
          <p:cNvPicPr>
            <a:picLocks noGrp="1" noChangeAspect="1"/>
          </p:cNvPicPr>
          <p:nvPr>
            <p:ph idx="1"/>
          </p:nvPr>
        </p:nvPicPr>
        <p:blipFill>
          <a:blip r:embed="rId2"/>
          <a:stretch>
            <a:fillRect/>
          </a:stretch>
        </p:blipFill>
        <p:spPr>
          <a:xfrm>
            <a:off x="6618417" y="2547257"/>
            <a:ext cx="4124325" cy="3480319"/>
          </a:xfrm>
        </p:spPr>
      </p:pic>
      <p:pic>
        <p:nvPicPr>
          <p:cNvPr id="5" name="Picture 4">
            <a:extLst>
              <a:ext uri="{FF2B5EF4-FFF2-40B4-BE49-F238E27FC236}">
                <a16:creationId xmlns:a16="http://schemas.microsoft.com/office/drawing/2014/main" id="{9D9E94E9-251F-4458-9937-C6DCF42B129E}"/>
              </a:ext>
            </a:extLst>
          </p:cNvPr>
          <p:cNvPicPr>
            <a:picLocks noChangeAspect="1"/>
          </p:cNvPicPr>
          <p:nvPr/>
        </p:nvPicPr>
        <p:blipFill>
          <a:blip r:embed="rId3"/>
          <a:stretch>
            <a:fillRect/>
          </a:stretch>
        </p:blipFill>
        <p:spPr>
          <a:xfrm>
            <a:off x="1449258" y="2534660"/>
            <a:ext cx="4735384" cy="3480319"/>
          </a:xfrm>
          <a:prstGeom prst="rect">
            <a:avLst/>
          </a:prstGeom>
        </p:spPr>
      </p:pic>
      <p:sp>
        <p:nvSpPr>
          <p:cNvPr id="14" name="TextBox 13">
            <a:extLst>
              <a:ext uri="{FF2B5EF4-FFF2-40B4-BE49-F238E27FC236}">
                <a16:creationId xmlns:a16="http://schemas.microsoft.com/office/drawing/2014/main" id="{858A0559-0027-4DCB-B1BE-6C54793CF0DD}"/>
              </a:ext>
            </a:extLst>
          </p:cNvPr>
          <p:cNvSpPr txBox="1"/>
          <p:nvPr/>
        </p:nvSpPr>
        <p:spPr>
          <a:xfrm>
            <a:off x="1324463" y="1739306"/>
            <a:ext cx="4941144" cy="369332"/>
          </a:xfrm>
          <a:prstGeom prst="rect">
            <a:avLst/>
          </a:prstGeom>
          <a:noFill/>
        </p:spPr>
        <p:txBody>
          <a:bodyPr wrap="square" rtlCol="0">
            <a:spAutoFit/>
          </a:bodyPr>
          <a:lstStyle/>
          <a:p>
            <a:pPr algn="ctr"/>
            <a:r>
              <a:rPr lang="en-US" dirty="0"/>
              <a:t>Uncleansed Data</a:t>
            </a:r>
          </a:p>
        </p:txBody>
      </p:sp>
      <p:sp>
        <p:nvSpPr>
          <p:cNvPr id="15" name="TextBox 14">
            <a:extLst>
              <a:ext uri="{FF2B5EF4-FFF2-40B4-BE49-F238E27FC236}">
                <a16:creationId xmlns:a16="http://schemas.microsoft.com/office/drawing/2014/main" id="{7110288F-DCF2-4D11-A68B-D29E4F60B2BA}"/>
              </a:ext>
            </a:extLst>
          </p:cNvPr>
          <p:cNvSpPr txBox="1"/>
          <p:nvPr/>
        </p:nvSpPr>
        <p:spPr>
          <a:xfrm>
            <a:off x="6618416" y="1716833"/>
            <a:ext cx="4124325" cy="369332"/>
          </a:xfrm>
          <a:prstGeom prst="rect">
            <a:avLst/>
          </a:prstGeom>
          <a:noFill/>
        </p:spPr>
        <p:txBody>
          <a:bodyPr wrap="square" rtlCol="0">
            <a:spAutoFit/>
          </a:bodyPr>
          <a:lstStyle/>
          <a:p>
            <a:pPr algn="ctr"/>
            <a:r>
              <a:rPr lang="en-US" dirty="0"/>
              <a:t>Cleansed Data</a:t>
            </a:r>
          </a:p>
        </p:txBody>
      </p:sp>
    </p:spTree>
    <p:extLst>
      <p:ext uri="{BB962C8B-B14F-4D97-AF65-F5344CB8AC3E}">
        <p14:creationId xmlns:p14="http://schemas.microsoft.com/office/powerpoint/2010/main" val="28125997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9919C-FC7F-49AF-8F05-DEA3D4CD1B7B}"/>
              </a:ext>
            </a:extLst>
          </p:cNvPr>
          <p:cNvSpPr>
            <a:spLocks noGrp="1"/>
          </p:cNvSpPr>
          <p:nvPr>
            <p:ph type="title"/>
          </p:nvPr>
        </p:nvSpPr>
        <p:spPr>
          <a:xfrm>
            <a:off x="1653363" y="365760"/>
            <a:ext cx="9367203" cy="701894"/>
          </a:xfrm>
        </p:spPr>
        <p:txBody>
          <a:bodyPr>
            <a:normAutofit/>
          </a:bodyPr>
          <a:lstStyle/>
          <a:p>
            <a:r>
              <a:rPr lang="en-US" dirty="0"/>
              <a:t>Covariance, Correlation and Spearman</a:t>
            </a:r>
          </a:p>
        </p:txBody>
      </p:sp>
      <p:sp>
        <p:nvSpPr>
          <p:cNvPr id="172" name="Freeform: Shape 110">
            <a:extLst>
              <a:ext uri="{FF2B5EF4-FFF2-40B4-BE49-F238E27FC236}">
                <a16:creationId xmlns:a16="http://schemas.microsoft.com/office/drawing/2014/main" id="{7CB4857B-ED7C-444D-9F04-2F885114A1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764099" cy="1558212"/>
          </a:xfrm>
          <a:custGeom>
            <a:avLst/>
            <a:gdLst>
              <a:gd name="connsiteX0" fmla="*/ 0 w 1764099"/>
              <a:gd name="connsiteY0" fmla="*/ 0 h 1558212"/>
              <a:gd name="connsiteX1" fmla="*/ 1764099 w 1764099"/>
              <a:gd name="connsiteY1" fmla="*/ 0 h 1558212"/>
              <a:gd name="connsiteX2" fmla="*/ 1042087 w 1764099"/>
              <a:gd name="connsiteY2" fmla="*/ 1558212 h 1558212"/>
              <a:gd name="connsiteX3" fmla="*/ 0 w 1764099"/>
              <a:gd name="connsiteY3" fmla="*/ 1558212 h 1558212"/>
            </a:gdLst>
            <a:ahLst/>
            <a:cxnLst>
              <a:cxn ang="0">
                <a:pos x="connsiteX0" y="connsiteY0"/>
              </a:cxn>
              <a:cxn ang="0">
                <a:pos x="connsiteX1" y="connsiteY1"/>
              </a:cxn>
              <a:cxn ang="0">
                <a:pos x="connsiteX2" y="connsiteY2"/>
              </a:cxn>
              <a:cxn ang="0">
                <a:pos x="connsiteX3" y="connsiteY3"/>
              </a:cxn>
            </a:cxnLst>
            <a:rect l="l" t="t" r="r" b="b"/>
            <a:pathLst>
              <a:path w="1764099" h="1558212">
                <a:moveTo>
                  <a:pt x="0" y="0"/>
                </a:moveTo>
                <a:lnTo>
                  <a:pt x="1764099" y="0"/>
                </a:lnTo>
                <a:lnTo>
                  <a:pt x="1042087" y="1558212"/>
                </a:lnTo>
                <a:lnTo>
                  <a:pt x="0" y="1558212"/>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3" name="Freeform: Shape 112">
            <a:extLst>
              <a:ext uri="{FF2B5EF4-FFF2-40B4-BE49-F238E27FC236}">
                <a16:creationId xmlns:a16="http://schemas.microsoft.com/office/drawing/2014/main" id="{D18046FB-44EA-4FD8-A585-EA09A319B2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691640"/>
            <a:ext cx="12191999" cy="5166360"/>
          </a:xfrm>
          <a:custGeom>
            <a:avLst/>
            <a:gdLst>
              <a:gd name="connsiteX0" fmla="*/ 0 w 12191999"/>
              <a:gd name="connsiteY0" fmla="*/ 0 h 5166360"/>
              <a:gd name="connsiteX1" fmla="*/ 1822388 w 12191999"/>
              <a:gd name="connsiteY1" fmla="*/ 0 h 5166360"/>
              <a:gd name="connsiteX2" fmla="*/ 6468290 w 12191999"/>
              <a:gd name="connsiteY2" fmla="*/ 0 h 5166360"/>
              <a:gd name="connsiteX3" fmla="*/ 7796394 w 12191999"/>
              <a:gd name="connsiteY3" fmla="*/ 0 h 5166360"/>
              <a:gd name="connsiteX4" fmla="*/ 8376834 w 12191999"/>
              <a:gd name="connsiteY4" fmla="*/ 0 h 5166360"/>
              <a:gd name="connsiteX5" fmla="*/ 9704938 w 12191999"/>
              <a:gd name="connsiteY5" fmla="*/ 0 h 5166360"/>
              <a:gd name="connsiteX6" fmla="*/ 9704938 w 12191999"/>
              <a:gd name="connsiteY6" fmla="*/ 2 h 5166360"/>
              <a:gd name="connsiteX7" fmla="*/ 10283456 w 12191999"/>
              <a:gd name="connsiteY7" fmla="*/ 2 h 5166360"/>
              <a:gd name="connsiteX8" fmla="*/ 10863897 w 12191999"/>
              <a:gd name="connsiteY8" fmla="*/ 2 h 5166360"/>
              <a:gd name="connsiteX9" fmla="*/ 12191999 w 12191999"/>
              <a:gd name="connsiteY9" fmla="*/ 2 h 5166360"/>
              <a:gd name="connsiteX10" fmla="*/ 12191999 w 12191999"/>
              <a:gd name="connsiteY10" fmla="*/ 5166360 h 5166360"/>
              <a:gd name="connsiteX11" fmla="*/ 0 w 12191999"/>
              <a:gd name="connsiteY11" fmla="*/ 5166360 h 5166360"/>
              <a:gd name="connsiteX12" fmla="*/ 0 w 12191999"/>
              <a:gd name="connsiteY12" fmla="*/ 2604436 h 5166360"/>
              <a:gd name="connsiteX13" fmla="*/ 862341 w 12191999"/>
              <a:gd name="connsiteY13" fmla="*/ 743371 h 5166360"/>
              <a:gd name="connsiteX14" fmla="*/ 0 w 12191999"/>
              <a:gd name="connsiteY14" fmla="*/ 743371 h 5166360"/>
              <a:gd name="connsiteX15" fmla="*/ 0 w 12191999"/>
              <a:gd name="connsiteY15" fmla="*/ 742508 h 5166360"/>
              <a:gd name="connsiteX16" fmla="*/ 92826 w 12191999"/>
              <a:gd name="connsiteY16" fmla="*/ 742508 h 5166360"/>
              <a:gd name="connsiteX17" fmla="*/ 406486 w 12191999"/>
              <a:gd name="connsiteY17" fmla="*/ 742508 h 5166360"/>
              <a:gd name="connsiteX18" fmla="*/ 406486 w 12191999"/>
              <a:gd name="connsiteY18" fmla="*/ 742507 h 5166360"/>
              <a:gd name="connsiteX19" fmla="*/ 862741 w 12191999"/>
              <a:gd name="connsiteY19" fmla="*/ 742507 h 5166360"/>
              <a:gd name="connsiteX20" fmla="*/ 1206388 w 12191999"/>
              <a:gd name="connsiteY20" fmla="*/ 864 h 5166360"/>
              <a:gd name="connsiteX21" fmla="*/ 748500 w 12191999"/>
              <a:gd name="connsiteY21" fmla="*/ 864 h 5166360"/>
              <a:gd name="connsiteX22" fmla="*/ 0 w 12191999"/>
              <a:gd name="connsiteY22" fmla="*/ 864 h 516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91999" h="5166360">
                <a:moveTo>
                  <a:pt x="0" y="0"/>
                </a:moveTo>
                <a:lnTo>
                  <a:pt x="1822388" y="0"/>
                </a:lnTo>
                <a:lnTo>
                  <a:pt x="6468290" y="0"/>
                </a:lnTo>
                <a:lnTo>
                  <a:pt x="7796394" y="0"/>
                </a:lnTo>
                <a:lnTo>
                  <a:pt x="8376834" y="0"/>
                </a:lnTo>
                <a:lnTo>
                  <a:pt x="9704938" y="0"/>
                </a:lnTo>
                <a:lnTo>
                  <a:pt x="9704938" y="2"/>
                </a:lnTo>
                <a:lnTo>
                  <a:pt x="10283456" y="2"/>
                </a:lnTo>
                <a:lnTo>
                  <a:pt x="10863897" y="2"/>
                </a:lnTo>
                <a:lnTo>
                  <a:pt x="12191999" y="2"/>
                </a:lnTo>
                <a:lnTo>
                  <a:pt x="12191999" y="5166360"/>
                </a:lnTo>
                <a:lnTo>
                  <a:pt x="0" y="5166360"/>
                </a:lnTo>
                <a:lnTo>
                  <a:pt x="0" y="2604436"/>
                </a:lnTo>
                <a:lnTo>
                  <a:pt x="862341" y="743371"/>
                </a:lnTo>
                <a:lnTo>
                  <a:pt x="0" y="743371"/>
                </a:lnTo>
                <a:lnTo>
                  <a:pt x="0" y="742508"/>
                </a:lnTo>
                <a:lnTo>
                  <a:pt x="92826" y="742508"/>
                </a:lnTo>
                <a:lnTo>
                  <a:pt x="406486" y="742508"/>
                </a:lnTo>
                <a:lnTo>
                  <a:pt x="406486" y="742507"/>
                </a:lnTo>
                <a:lnTo>
                  <a:pt x="862741" y="742507"/>
                </a:lnTo>
                <a:lnTo>
                  <a:pt x="1206388" y="864"/>
                </a:lnTo>
                <a:lnTo>
                  <a:pt x="748500" y="864"/>
                </a:lnTo>
                <a:lnTo>
                  <a:pt x="0" y="864"/>
                </a:lnTo>
                <a:close/>
              </a:path>
            </a:pathLst>
          </a:custGeom>
          <a:solidFill>
            <a:srgbClr val="A6A6A6">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4" name="Freeform: Shape 114">
            <a:extLst>
              <a:ext uri="{FF2B5EF4-FFF2-40B4-BE49-F238E27FC236}">
                <a16:creationId xmlns:a16="http://schemas.microsoft.com/office/drawing/2014/main" id="{479F5F2B-8B58-4140-AE6A-51F6C67B18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691641"/>
            <a:ext cx="971654" cy="2096979"/>
          </a:xfrm>
          <a:custGeom>
            <a:avLst/>
            <a:gdLst>
              <a:gd name="connsiteX0" fmla="*/ 0 w 971654"/>
              <a:gd name="connsiteY0" fmla="*/ 0 h 2096979"/>
              <a:gd name="connsiteX1" fmla="*/ 971654 w 971654"/>
              <a:gd name="connsiteY1" fmla="*/ 0 h 2096979"/>
              <a:gd name="connsiteX2" fmla="*/ 0 w 971654"/>
              <a:gd name="connsiteY2" fmla="*/ 2096979 h 2096979"/>
            </a:gdLst>
            <a:ahLst/>
            <a:cxnLst>
              <a:cxn ang="0">
                <a:pos x="connsiteX0" y="connsiteY0"/>
              </a:cxn>
              <a:cxn ang="0">
                <a:pos x="connsiteX1" y="connsiteY1"/>
              </a:cxn>
              <a:cxn ang="0">
                <a:pos x="connsiteX2" y="connsiteY2"/>
              </a:cxn>
            </a:cxnLst>
            <a:rect l="l" t="t" r="r" b="b"/>
            <a:pathLst>
              <a:path w="971654" h="2096979">
                <a:moveTo>
                  <a:pt x="0" y="0"/>
                </a:moveTo>
                <a:lnTo>
                  <a:pt x="971654" y="0"/>
                </a:lnTo>
                <a:lnTo>
                  <a:pt x="0" y="2096979"/>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2" name="Picture 11">
            <a:extLst>
              <a:ext uri="{FF2B5EF4-FFF2-40B4-BE49-F238E27FC236}">
                <a16:creationId xmlns:a16="http://schemas.microsoft.com/office/drawing/2014/main" id="{B28C971E-5EE7-451B-910F-8C15705C8309}"/>
              </a:ext>
            </a:extLst>
          </p:cNvPr>
          <p:cNvPicPr>
            <a:picLocks noChangeAspect="1"/>
          </p:cNvPicPr>
          <p:nvPr/>
        </p:nvPicPr>
        <p:blipFill>
          <a:blip r:embed="rId2"/>
          <a:stretch>
            <a:fillRect/>
          </a:stretch>
        </p:blipFill>
        <p:spPr>
          <a:xfrm>
            <a:off x="1764100" y="1691639"/>
            <a:ext cx="8918222" cy="3526711"/>
          </a:xfrm>
          <a:prstGeom prst="rect">
            <a:avLst/>
          </a:prstGeom>
        </p:spPr>
      </p:pic>
      <p:sp>
        <p:nvSpPr>
          <p:cNvPr id="18" name="TextBox 17">
            <a:extLst>
              <a:ext uri="{FF2B5EF4-FFF2-40B4-BE49-F238E27FC236}">
                <a16:creationId xmlns:a16="http://schemas.microsoft.com/office/drawing/2014/main" id="{66180F77-338C-4E5F-9DAD-A31B9F2CF318}"/>
              </a:ext>
            </a:extLst>
          </p:cNvPr>
          <p:cNvSpPr txBox="1"/>
          <p:nvPr/>
        </p:nvSpPr>
        <p:spPr>
          <a:xfrm>
            <a:off x="1764099" y="5218351"/>
            <a:ext cx="8918221" cy="615553"/>
          </a:xfrm>
          <a:prstGeom prst="rect">
            <a:avLst/>
          </a:prstGeom>
          <a:noFill/>
        </p:spPr>
        <p:txBody>
          <a:bodyPr wrap="square" rtlCol="0">
            <a:spAutoFit/>
          </a:bodyPr>
          <a:lstStyle/>
          <a:p>
            <a:r>
              <a:rPr lang="en-US" sz="1700" dirty="0"/>
              <a:t>Covariance and correlation tells positive relationship between </a:t>
            </a:r>
            <a:r>
              <a:rPr lang="en-US" sz="1700" dirty="0" err="1"/>
              <a:t>Chrun</a:t>
            </a:r>
            <a:r>
              <a:rPr lang="en-US" sz="1700" dirty="0"/>
              <a:t> and Monthly Charges, Spearman indicates the same as well!</a:t>
            </a:r>
          </a:p>
        </p:txBody>
      </p:sp>
    </p:spTree>
    <p:extLst>
      <p:ext uri="{BB962C8B-B14F-4D97-AF65-F5344CB8AC3E}">
        <p14:creationId xmlns:p14="http://schemas.microsoft.com/office/powerpoint/2010/main" val="8873672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9919C-FC7F-49AF-8F05-DEA3D4CD1B7B}"/>
              </a:ext>
            </a:extLst>
          </p:cNvPr>
          <p:cNvSpPr>
            <a:spLocks noGrp="1"/>
          </p:cNvSpPr>
          <p:nvPr>
            <p:ph type="title"/>
          </p:nvPr>
        </p:nvSpPr>
        <p:spPr>
          <a:xfrm>
            <a:off x="1653363" y="365760"/>
            <a:ext cx="9367203" cy="701894"/>
          </a:xfrm>
        </p:spPr>
        <p:txBody>
          <a:bodyPr>
            <a:normAutofit/>
          </a:bodyPr>
          <a:lstStyle/>
          <a:p>
            <a:r>
              <a:rPr lang="en-US" dirty="0"/>
              <a:t>PMF</a:t>
            </a:r>
          </a:p>
        </p:txBody>
      </p:sp>
      <p:sp>
        <p:nvSpPr>
          <p:cNvPr id="172" name="Freeform: Shape 110">
            <a:extLst>
              <a:ext uri="{FF2B5EF4-FFF2-40B4-BE49-F238E27FC236}">
                <a16:creationId xmlns:a16="http://schemas.microsoft.com/office/drawing/2014/main" id="{7CB4857B-ED7C-444D-9F04-2F885114A1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764099" cy="1558212"/>
          </a:xfrm>
          <a:custGeom>
            <a:avLst/>
            <a:gdLst>
              <a:gd name="connsiteX0" fmla="*/ 0 w 1764099"/>
              <a:gd name="connsiteY0" fmla="*/ 0 h 1558212"/>
              <a:gd name="connsiteX1" fmla="*/ 1764099 w 1764099"/>
              <a:gd name="connsiteY1" fmla="*/ 0 h 1558212"/>
              <a:gd name="connsiteX2" fmla="*/ 1042087 w 1764099"/>
              <a:gd name="connsiteY2" fmla="*/ 1558212 h 1558212"/>
              <a:gd name="connsiteX3" fmla="*/ 0 w 1764099"/>
              <a:gd name="connsiteY3" fmla="*/ 1558212 h 1558212"/>
            </a:gdLst>
            <a:ahLst/>
            <a:cxnLst>
              <a:cxn ang="0">
                <a:pos x="connsiteX0" y="connsiteY0"/>
              </a:cxn>
              <a:cxn ang="0">
                <a:pos x="connsiteX1" y="connsiteY1"/>
              </a:cxn>
              <a:cxn ang="0">
                <a:pos x="connsiteX2" y="connsiteY2"/>
              </a:cxn>
              <a:cxn ang="0">
                <a:pos x="connsiteX3" y="connsiteY3"/>
              </a:cxn>
            </a:cxnLst>
            <a:rect l="l" t="t" r="r" b="b"/>
            <a:pathLst>
              <a:path w="1764099" h="1558212">
                <a:moveTo>
                  <a:pt x="0" y="0"/>
                </a:moveTo>
                <a:lnTo>
                  <a:pt x="1764099" y="0"/>
                </a:lnTo>
                <a:lnTo>
                  <a:pt x="1042087" y="1558212"/>
                </a:lnTo>
                <a:lnTo>
                  <a:pt x="0" y="1558212"/>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3" name="Freeform: Shape 112">
            <a:extLst>
              <a:ext uri="{FF2B5EF4-FFF2-40B4-BE49-F238E27FC236}">
                <a16:creationId xmlns:a16="http://schemas.microsoft.com/office/drawing/2014/main" id="{D18046FB-44EA-4FD8-A585-EA09A319B2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691640"/>
            <a:ext cx="12191999" cy="5166360"/>
          </a:xfrm>
          <a:custGeom>
            <a:avLst/>
            <a:gdLst>
              <a:gd name="connsiteX0" fmla="*/ 0 w 12191999"/>
              <a:gd name="connsiteY0" fmla="*/ 0 h 5166360"/>
              <a:gd name="connsiteX1" fmla="*/ 1822388 w 12191999"/>
              <a:gd name="connsiteY1" fmla="*/ 0 h 5166360"/>
              <a:gd name="connsiteX2" fmla="*/ 6468290 w 12191999"/>
              <a:gd name="connsiteY2" fmla="*/ 0 h 5166360"/>
              <a:gd name="connsiteX3" fmla="*/ 7796394 w 12191999"/>
              <a:gd name="connsiteY3" fmla="*/ 0 h 5166360"/>
              <a:gd name="connsiteX4" fmla="*/ 8376834 w 12191999"/>
              <a:gd name="connsiteY4" fmla="*/ 0 h 5166360"/>
              <a:gd name="connsiteX5" fmla="*/ 9704938 w 12191999"/>
              <a:gd name="connsiteY5" fmla="*/ 0 h 5166360"/>
              <a:gd name="connsiteX6" fmla="*/ 9704938 w 12191999"/>
              <a:gd name="connsiteY6" fmla="*/ 2 h 5166360"/>
              <a:gd name="connsiteX7" fmla="*/ 10283456 w 12191999"/>
              <a:gd name="connsiteY7" fmla="*/ 2 h 5166360"/>
              <a:gd name="connsiteX8" fmla="*/ 10863897 w 12191999"/>
              <a:gd name="connsiteY8" fmla="*/ 2 h 5166360"/>
              <a:gd name="connsiteX9" fmla="*/ 12191999 w 12191999"/>
              <a:gd name="connsiteY9" fmla="*/ 2 h 5166360"/>
              <a:gd name="connsiteX10" fmla="*/ 12191999 w 12191999"/>
              <a:gd name="connsiteY10" fmla="*/ 5166360 h 5166360"/>
              <a:gd name="connsiteX11" fmla="*/ 0 w 12191999"/>
              <a:gd name="connsiteY11" fmla="*/ 5166360 h 5166360"/>
              <a:gd name="connsiteX12" fmla="*/ 0 w 12191999"/>
              <a:gd name="connsiteY12" fmla="*/ 2604436 h 5166360"/>
              <a:gd name="connsiteX13" fmla="*/ 862341 w 12191999"/>
              <a:gd name="connsiteY13" fmla="*/ 743371 h 5166360"/>
              <a:gd name="connsiteX14" fmla="*/ 0 w 12191999"/>
              <a:gd name="connsiteY14" fmla="*/ 743371 h 5166360"/>
              <a:gd name="connsiteX15" fmla="*/ 0 w 12191999"/>
              <a:gd name="connsiteY15" fmla="*/ 742508 h 5166360"/>
              <a:gd name="connsiteX16" fmla="*/ 92826 w 12191999"/>
              <a:gd name="connsiteY16" fmla="*/ 742508 h 5166360"/>
              <a:gd name="connsiteX17" fmla="*/ 406486 w 12191999"/>
              <a:gd name="connsiteY17" fmla="*/ 742508 h 5166360"/>
              <a:gd name="connsiteX18" fmla="*/ 406486 w 12191999"/>
              <a:gd name="connsiteY18" fmla="*/ 742507 h 5166360"/>
              <a:gd name="connsiteX19" fmla="*/ 862741 w 12191999"/>
              <a:gd name="connsiteY19" fmla="*/ 742507 h 5166360"/>
              <a:gd name="connsiteX20" fmla="*/ 1206388 w 12191999"/>
              <a:gd name="connsiteY20" fmla="*/ 864 h 5166360"/>
              <a:gd name="connsiteX21" fmla="*/ 748500 w 12191999"/>
              <a:gd name="connsiteY21" fmla="*/ 864 h 5166360"/>
              <a:gd name="connsiteX22" fmla="*/ 0 w 12191999"/>
              <a:gd name="connsiteY22" fmla="*/ 864 h 516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91999" h="5166360">
                <a:moveTo>
                  <a:pt x="0" y="0"/>
                </a:moveTo>
                <a:lnTo>
                  <a:pt x="1822388" y="0"/>
                </a:lnTo>
                <a:lnTo>
                  <a:pt x="6468290" y="0"/>
                </a:lnTo>
                <a:lnTo>
                  <a:pt x="7796394" y="0"/>
                </a:lnTo>
                <a:lnTo>
                  <a:pt x="8376834" y="0"/>
                </a:lnTo>
                <a:lnTo>
                  <a:pt x="9704938" y="0"/>
                </a:lnTo>
                <a:lnTo>
                  <a:pt x="9704938" y="2"/>
                </a:lnTo>
                <a:lnTo>
                  <a:pt x="10283456" y="2"/>
                </a:lnTo>
                <a:lnTo>
                  <a:pt x="10863897" y="2"/>
                </a:lnTo>
                <a:lnTo>
                  <a:pt x="12191999" y="2"/>
                </a:lnTo>
                <a:lnTo>
                  <a:pt x="12191999" y="5166360"/>
                </a:lnTo>
                <a:lnTo>
                  <a:pt x="0" y="5166360"/>
                </a:lnTo>
                <a:lnTo>
                  <a:pt x="0" y="2604436"/>
                </a:lnTo>
                <a:lnTo>
                  <a:pt x="862341" y="743371"/>
                </a:lnTo>
                <a:lnTo>
                  <a:pt x="0" y="743371"/>
                </a:lnTo>
                <a:lnTo>
                  <a:pt x="0" y="742508"/>
                </a:lnTo>
                <a:lnTo>
                  <a:pt x="92826" y="742508"/>
                </a:lnTo>
                <a:lnTo>
                  <a:pt x="406486" y="742508"/>
                </a:lnTo>
                <a:lnTo>
                  <a:pt x="406486" y="742507"/>
                </a:lnTo>
                <a:lnTo>
                  <a:pt x="862741" y="742507"/>
                </a:lnTo>
                <a:lnTo>
                  <a:pt x="1206388" y="864"/>
                </a:lnTo>
                <a:lnTo>
                  <a:pt x="748500" y="864"/>
                </a:lnTo>
                <a:lnTo>
                  <a:pt x="0" y="864"/>
                </a:lnTo>
                <a:close/>
              </a:path>
            </a:pathLst>
          </a:custGeom>
          <a:solidFill>
            <a:srgbClr val="A6A6A6">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4" name="Freeform: Shape 114">
            <a:extLst>
              <a:ext uri="{FF2B5EF4-FFF2-40B4-BE49-F238E27FC236}">
                <a16:creationId xmlns:a16="http://schemas.microsoft.com/office/drawing/2014/main" id="{479F5F2B-8B58-4140-AE6A-51F6C67B18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691641"/>
            <a:ext cx="971654" cy="2096979"/>
          </a:xfrm>
          <a:custGeom>
            <a:avLst/>
            <a:gdLst>
              <a:gd name="connsiteX0" fmla="*/ 0 w 971654"/>
              <a:gd name="connsiteY0" fmla="*/ 0 h 2096979"/>
              <a:gd name="connsiteX1" fmla="*/ 971654 w 971654"/>
              <a:gd name="connsiteY1" fmla="*/ 0 h 2096979"/>
              <a:gd name="connsiteX2" fmla="*/ 0 w 971654"/>
              <a:gd name="connsiteY2" fmla="*/ 2096979 h 2096979"/>
            </a:gdLst>
            <a:ahLst/>
            <a:cxnLst>
              <a:cxn ang="0">
                <a:pos x="connsiteX0" y="connsiteY0"/>
              </a:cxn>
              <a:cxn ang="0">
                <a:pos x="connsiteX1" y="connsiteY1"/>
              </a:cxn>
              <a:cxn ang="0">
                <a:pos x="connsiteX2" y="connsiteY2"/>
              </a:cxn>
            </a:cxnLst>
            <a:rect l="l" t="t" r="r" b="b"/>
            <a:pathLst>
              <a:path w="971654" h="2096979">
                <a:moveTo>
                  <a:pt x="0" y="0"/>
                </a:moveTo>
                <a:lnTo>
                  <a:pt x="971654" y="0"/>
                </a:lnTo>
                <a:lnTo>
                  <a:pt x="0" y="2096979"/>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8" name="Picture 7">
            <a:extLst>
              <a:ext uri="{FF2B5EF4-FFF2-40B4-BE49-F238E27FC236}">
                <a16:creationId xmlns:a16="http://schemas.microsoft.com/office/drawing/2014/main" id="{DD5224C9-BFF6-492C-B9A3-9C019849AC98}"/>
              </a:ext>
            </a:extLst>
          </p:cNvPr>
          <p:cNvPicPr>
            <a:picLocks noChangeAspect="1"/>
          </p:cNvPicPr>
          <p:nvPr/>
        </p:nvPicPr>
        <p:blipFill>
          <a:blip r:embed="rId2"/>
          <a:stretch>
            <a:fillRect/>
          </a:stretch>
        </p:blipFill>
        <p:spPr>
          <a:xfrm>
            <a:off x="1209675" y="1691638"/>
            <a:ext cx="9772650" cy="4566549"/>
          </a:xfrm>
          <a:prstGeom prst="rect">
            <a:avLst/>
          </a:prstGeom>
        </p:spPr>
      </p:pic>
    </p:spTree>
    <p:extLst>
      <p:ext uri="{BB962C8B-B14F-4D97-AF65-F5344CB8AC3E}">
        <p14:creationId xmlns:p14="http://schemas.microsoft.com/office/powerpoint/2010/main" val="37285637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9919C-FC7F-49AF-8F05-DEA3D4CD1B7B}"/>
              </a:ext>
            </a:extLst>
          </p:cNvPr>
          <p:cNvSpPr>
            <a:spLocks noGrp="1"/>
          </p:cNvSpPr>
          <p:nvPr>
            <p:ph type="title"/>
          </p:nvPr>
        </p:nvSpPr>
        <p:spPr>
          <a:xfrm>
            <a:off x="1653363" y="365760"/>
            <a:ext cx="9367203" cy="701894"/>
          </a:xfrm>
        </p:spPr>
        <p:txBody>
          <a:bodyPr>
            <a:normAutofit/>
          </a:bodyPr>
          <a:lstStyle/>
          <a:p>
            <a:r>
              <a:rPr lang="en-US" dirty="0"/>
              <a:t>CDF</a:t>
            </a:r>
          </a:p>
        </p:txBody>
      </p:sp>
      <p:sp>
        <p:nvSpPr>
          <p:cNvPr id="172" name="Freeform: Shape 110">
            <a:extLst>
              <a:ext uri="{FF2B5EF4-FFF2-40B4-BE49-F238E27FC236}">
                <a16:creationId xmlns:a16="http://schemas.microsoft.com/office/drawing/2014/main" id="{7CB4857B-ED7C-444D-9F04-2F885114A1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764099" cy="1558212"/>
          </a:xfrm>
          <a:custGeom>
            <a:avLst/>
            <a:gdLst>
              <a:gd name="connsiteX0" fmla="*/ 0 w 1764099"/>
              <a:gd name="connsiteY0" fmla="*/ 0 h 1558212"/>
              <a:gd name="connsiteX1" fmla="*/ 1764099 w 1764099"/>
              <a:gd name="connsiteY1" fmla="*/ 0 h 1558212"/>
              <a:gd name="connsiteX2" fmla="*/ 1042087 w 1764099"/>
              <a:gd name="connsiteY2" fmla="*/ 1558212 h 1558212"/>
              <a:gd name="connsiteX3" fmla="*/ 0 w 1764099"/>
              <a:gd name="connsiteY3" fmla="*/ 1558212 h 1558212"/>
            </a:gdLst>
            <a:ahLst/>
            <a:cxnLst>
              <a:cxn ang="0">
                <a:pos x="connsiteX0" y="connsiteY0"/>
              </a:cxn>
              <a:cxn ang="0">
                <a:pos x="connsiteX1" y="connsiteY1"/>
              </a:cxn>
              <a:cxn ang="0">
                <a:pos x="connsiteX2" y="connsiteY2"/>
              </a:cxn>
              <a:cxn ang="0">
                <a:pos x="connsiteX3" y="connsiteY3"/>
              </a:cxn>
            </a:cxnLst>
            <a:rect l="l" t="t" r="r" b="b"/>
            <a:pathLst>
              <a:path w="1764099" h="1558212">
                <a:moveTo>
                  <a:pt x="0" y="0"/>
                </a:moveTo>
                <a:lnTo>
                  <a:pt x="1764099" y="0"/>
                </a:lnTo>
                <a:lnTo>
                  <a:pt x="1042087" y="1558212"/>
                </a:lnTo>
                <a:lnTo>
                  <a:pt x="0" y="1558212"/>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3" name="Freeform: Shape 112">
            <a:extLst>
              <a:ext uri="{FF2B5EF4-FFF2-40B4-BE49-F238E27FC236}">
                <a16:creationId xmlns:a16="http://schemas.microsoft.com/office/drawing/2014/main" id="{D18046FB-44EA-4FD8-A585-EA09A319B2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691640"/>
            <a:ext cx="12191999" cy="5166360"/>
          </a:xfrm>
          <a:custGeom>
            <a:avLst/>
            <a:gdLst>
              <a:gd name="connsiteX0" fmla="*/ 0 w 12191999"/>
              <a:gd name="connsiteY0" fmla="*/ 0 h 5166360"/>
              <a:gd name="connsiteX1" fmla="*/ 1822388 w 12191999"/>
              <a:gd name="connsiteY1" fmla="*/ 0 h 5166360"/>
              <a:gd name="connsiteX2" fmla="*/ 6468290 w 12191999"/>
              <a:gd name="connsiteY2" fmla="*/ 0 h 5166360"/>
              <a:gd name="connsiteX3" fmla="*/ 7796394 w 12191999"/>
              <a:gd name="connsiteY3" fmla="*/ 0 h 5166360"/>
              <a:gd name="connsiteX4" fmla="*/ 8376834 w 12191999"/>
              <a:gd name="connsiteY4" fmla="*/ 0 h 5166360"/>
              <a:gd name="connsiteX5" fmla="*/ 9704938 w 12191999"/>
              <a:gd name="connsiteY5" fmla="*/ 0 h 5166360"/>
              <a:gd name="connsiteX6" fmla="*/ 9704938 w 12191999"/>
              <a:gd name="connsiteY6" fmla="*/ 2 h 5166360"/>
              <a:gd name="connsiteX7" fmla="*/ 10283456 w 12191999"/>
              <a:gd name="connsiteY7" fmla="*/ 2 h 5166360"/>
              <a:gd name="connsiteX8" fmla="*/ 10863897 w 12191999"/>
              <a:gd name="connsiteY8" fmla="*/ 2 h 5166360"/>
              <a:gd name="connsiteX9" fmla="*/ 12191999 w 12191999"/>
              <a:gd name="connsiteY9" fmla="*/ 2 h 5166360"/>
              <a:gd name="connsiteX10" fmla="*/ 12191999 w 12191999"/>
              <a:gd name="connsiteY10" fmla="*/ 5166360 h 5166360"/>
              <a:gd name="connsiteX11" fmla="*/ 0 w 12191999"/>
              <a:gd name="connsiteY11" fmla="*/ 5166360 h 5166360"/>
              <a:gd name="connsiteX12" fmla="*/ 0 w 12191999"/>
              <a:gd name="connsiteY12" fmla="*/ 2604436 h 5166360"/>
              <a:gd name="connsiteX13" fmla="*/ 862341 w 12191999"/>
              <a:gd name="connsiteY13" fmla="*/ 743371 h 5166360"/>
              <a:gd name="connsiteX14" fmla="*/ 0 w 12191999"/>
              <a:gd name="connsiteY14" fmla="*/ 743371 h 5166360"/>
              <a:gd name="connsiteX15" fmla="*/ 0 w 12191999"/>
              <a:gd name="connsiteY15" fmla="*/ 742508 h 5166360"/>
              <a:gd name="connsiteX16" fmla="*/ 92826 w 12191999"/>
              <a:gd name="connsiteY16" fmla="*/ 742508 h 5166360"/>
              <a:gd name="connsiteX17" fmla="*/ 406486 w 12191999"/>
              <a:gd name="connsiteY17" fmla="*/ 742508 h 5166360"/>
              <a:gd name="connsiteX18" fmla="*/ 406486 w 12191999"/>
              <a:gd name="connsiteY18" fmla="*/ 742507 h 5166360"/>
              <a:gd name="connsiteX19" fmla="*/ 862741 w 12191999"/>
              <a:gd name="connsiteY19" fmla="*/ 742507 h 5166360"/>
              <a:gd name="connsiteX20" fmla="*/ 1206388 w 12191999"/>
              <a:gd name="connsiteY20" fmla="*/ 864 h 5166360"/>
              <a:gd name="connsiteX21" fmla="*/ 748500 w 12191999"/>
              <a:gd name="connsiteY21" fmla="*/ 864 h 5166360"/>
              <a:gd name="connsiteX22" fmla="*/ 0 w 12191999"/>
              <a:gd name="connsiteY22" fmla="*/ 864 h 516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91999" h="5166360">
                <a:moveTo>
                  <a:pt x="0" y="0"/>
                </a:moveTo>
                <a:lnTo>
                  <a:pt x="1822388" y="0"/>
                </a:lnTo>
                <a:lnTo>
                  <a:pt x="6468290" y="0"/>
                </a:lnTo>
                <a:lnTo>
                  <a:pt x="7796394" y="0"/>
                </a:lnTo>
                <a:lnTo>
                  <a:pt x="8376834" y="0"/>
                </a:lnTo>
                <a:lnTo>
                  <a:pt x="9704938" y="0"/>
                </a:lnTo>
                <a:lnTo>
                  <a:pt x="9704938" y="2"/>
                </a:lnTo>
                <a:lnTo>
                  <a:pt x="10283456" y="2"/>
                </a:lnTo>
                <a:lnTo>
                  <a:pt x="10863897" y="2"/>
                </a:lnTo>
                <a:lnTo>
                  <a:pt x="12191999" y="2"/>
                </a:lnTo>
                <a:lnTo>
                  <a:pt x="12191999" y="5166360"/>
                </a:lnTo>
                <a:lnTo>
                  <a:pt x="0" y="5166360"/>
                </a:lnTo>
                <a:lnTo>
                  <a:pt x="0" y="2604436"/>
                </a:lnTo>
                <a:lnTo>
                  <a:pt x="862341" y="743371"/>
                </a:lnTo>
                <a:lnTo>
                  <a:pt x="0" y="743371"/>
                </a:lnTo>
                <a:lnTo>
                  <a:pt x="0" y="742508"/>
                </a:lnTo>
                <a:lnTo>
                  <a:pt x="92826" y="742508"/>
                </a:lnTo>
                <a:lnTo>
                  <a:pt x="406486" y="742508"/>
                </a:lnTo>
                <a:lnTo>
                  <a:pt x="406486" y="742507"/>
                </a:lnTo>
                <a:lnTo>
                  <a:pt x="862741" y="742507"/>
                </a:lnTo>
                <a:lnTo>
                  <a:pt x="1206388" y="864"/>
                </a:lnTo>
                <a:lnTo>
                  <a:pt x="748500" y="864"/>
                </a:lnTo>
                <a:lnTo>
                  <a:pt x="0" y="864"/>
                </a:lnTo>
                <a:close/>
              </a:path>
            </a:pathLst>
          </a:custGeom>
          <a:solidFill>
            <a:srgbClr val="A6A6A6">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4" name="Freeform: Shape 114">
            <a:extLst>
              <a:ext uri="{FF2B5EF4-FFF2-40B4-BE49-F238E27FC236}">
                <a16:creationId xmlns:a16="http://schemas.microsoft.com/office/drawing/2014/main" id="{479F5F2B-8B58-4140-AE6A-51F6C67B18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691641"/>
            <a:ext cx="971654" cy="2096979"/>
          </a:xfrm>
          <a:custGeom>
            <a:avLst/>
            <a:gdLst>
              <a:gd name="connsiteX0" fmla="*/ 0 w 971654"/>
              <a:gd name="connsiteY0" fmla="*/ 0 h 2096979"/>
              <a:gd name="connsiteX1" fmla="*/ 971654 w 971654"/>
              <a:gd name="connsiteY1" fmla="*/ 0 h 2096979"/>
              <a:gd name="connsiteX2" fmla="*/ 0 w 971654"/>
              <a:gd name="connsiteY2" fmla="*/ 2096979 h 2096979"/>
            </a:gdLst>
            <a:ahLst/>
            <a:cxnLst>
              <a:cxn ang="0">
                <a:pos x="connsiteX0" y="connsiteY0"/>
              </a:cxn>
              <a:cxn ang="0">
                <a:pos x="connsiteX1" y="connsiteY1"/>
              </a:cxn>
              <a:cxn ang="0">
                <a:pos x="connsiteX2" y="connsiteY2"/>
              </a:cxn>
            </a:cxnLst>
            <a:rect l="l" t="t" r="r" b="b"/>
            <a:pathLst>
              <a:path w="971654" h="2096979">
                <a:moveTo>
                  <a:pt x="0" y="0"/>
                </a:moveTo>
                <a:lnTo>
                  <a:pt x="971654" y="0"/>
                </a:lnTo>
                <a:lnTo>
                  <a:pt x="0" y="2096979"/>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E252B965-7E23-448B-80F7-9EB5B9C38A52}"/>
              </a:ext>
            </a:extLst>
          </p:cNvPr>
          <p:cNvPicPr>
            <a:picLocks noChangeAspect="1"/>
          </p:cNvPicPr>
          <p:nvPr/>
        </p:nvPicPr>
        <p:blipFill>
          <a:blip r:embed="rId2"/>
          <a:stretch>
            <a:fillRect/>
          </a:stretch>
        </p:blipFill>
        <p:spPr>
          <a:xfrm>
            <a:off x="1764100" y="1691639"/>
            <a:ext cx="9584937" cy="4503888"/>
          </a:xfrm>
          <a:prstGeom prst="rect">
            <a:avLst/>
          </a:prstGeom>
        </p:spPr>
      </p:pic>
    </p:spTree>
    <p:extLst>
      <p:ext uri="{BB962C8B-B14F-4D97-AF65-F5344CB8AC3E}">
        <p14:creationId xmlns:p14="http://schemas.microsoft.com/office/powerpoint/2010/main" val="16785721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9919C-FC7F-49AF-8F05-DEA3D4CD1B7B}"/>
              </a:ext>
            </a:extLst>
          </p:cNvPr>
          <p:cNvSpPr>
            <a:spLocks noGrp="1"/>
          </p:cNvSpPr>
          <p:nvPr>
            <p:ph type="title"/>
          </p:nvPr>
        </p:nvSpPr>
        <p:spPr>
          <a:xfrm>
            <a:off x="1653363" y="365760"/>
            <a:ext cx="9367203" cy="701894"/>
          </a:xfrm>
        </p:spPr>
        <p:txBody>
          <a:bodyPr>
            <a:normAutofit/>
          </a:bodyPr>
          <a:lstStyle/>
          <a:p>
            <a:r>
              <a:rPr lang="en-US" dirty="0"/>
              <a:t>Normal Distribution</a:t>
            </a:r>
          </a:p>
        </p:txBody>
      </p:sp>
      <p:sp>
        <p:nvSpPr>
          <p:cNvPr id="172" name="Freeform: Shape 110">
            <a:extLst>
              <a:ext uri="{FF2B5EF4-FFF2-40B4-BE49-F238E27FC236}">
                <a16:creationId xmlns:a16="http://schemas.microsoft.com/office/drawing/2014/main" id="{7CB4857B-ED7C-444D-9F04-2F885114A1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764099" cy="1558212"/>
          </a:xfrm>
          <a:custGeom>
            <a:avLst/>
            <a:gdLst>
              <a:gd name="connsiteX0" fmla="*/ 0 w 1764099"/>
              <a:gd name="connsiteY0" fmla="*/ 0 h 1558212"/>
              <a:gd name="connsiteX1" fmla="*/ 1764099 w 1764099"/>
              <a:gd name="connsiteY1" fmla="*/ 0 h 1558212"/>
              <a:gd name="connsiteX2" fmla="*/ 1042087 w 1764099"/>
              <a:gd name="connsiteY2" fmla="*/ 1558212 h 1558212"/>
              <a:gd name="connsiteX3" fmla="*/ 0 w 1764099"/>
              <a:gd name="connsiteY3" fmla="*/ 1558212 h 1558212"/>
            </a:gdLst>
            <a:ahLst/>
            <a:cxnLst>
              <a:cxn ang="0">
                <a:pos x="connsiteX0" y="connsiteY0"/>
              </a:cxn>
              <a:cxn ang="0">
                <a:pos x="connsiteX1" y="connsiteY1"/>
              </a:cxn>
              <a:cxn ang="0">
                <a:pos x="connsiteX2" y="connsiteY2"/>
              </a:cxn>
              <a:cxn ang="0">
                <a:pos x="connsiteX3" y="connsiteY3"/>
              </a:cxn>
            </a:cxnLst>
            <a:rect l="l" t="t" r="r" b="b"/>
            <a:pathLst>
              <a:path w="1764099" h="1558212">
                <a:moveTo>
                  <a:pt x="0" y="0"/>
                </a:moveTo>
                <a:lnTo>
                  <a:pt x="1764099" y="0"/>
                </a:lnTo>
                <a:lnTo>
                  <a:pt x="1042087" y="1558212"/>
                </a:lnTo>
                <a:lnTo>
                  <a:pt x="0" y="1558212"/>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3" name="Freeform: Shape 112">
            <a:extLst>
              <a:ext uri="{FF2B5EF4-FFF2-40B4-BE49-F238E27FC236}">
                <a16:creationId xmlns:a16="http://schemas.microsoft.com/office/drawing/2014/main" id="{D18046FB-44EA-4FD8-A585-EA09A319B2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691640"/>
            <a:ext cx="12191999" cy="5166360"/>
          </a:xfrm>
          <a:custGeom>
            <a:avLst/>
            <a:gdLst>
              <a:gd name="connsiteX0" fmla="*/ 0 w 12191999"/>
              <a:gd name="connsiteY0" fmla="*/ 0 h 5166360"/>
              <a:gd name="connsiteX1" fmla="*/ 1822388 w 12191999"/>
              <a:gd name="connsiteY1" fmla="*/ 0 h 5166360"/>
              <a:gd name="connsiteX2" fmla="*/ 6468290 w 12191999"/>
              <a:gd name="connsiteY2" fmla="*/ 0 h 5166360"/>
              <a:gd name="connsiteX3" fmla="*/ 7796394 w 12191999"/>
              <a:gd name="connsiteY3" fmla="*/ 0 h 5166360"/>
              <a:gd name="connsiteX4" fmla="*/ 8376834 w 12191999"/>
              <a:gd name="connsiteY4" fmla="*/ 0 h 5166360"/>
              <a:gd name="connsiteX5" fmla="*/ 9704938 w 12191999"/>
              <a:gd name="connsiteY5" fmla="*/ 0 h 5166360"/>
              <a:gd name="connsiteX6" fmla="*/ 9704938 w 12191999"/>
              <a:gd name="connsiteY6" fmla="*/ 2 h 5166360"/>
              <a:gd name="connsiteX7" fmla="*/ 10283456 w 12191999"/>
              <a:gd name="connsiteY7" fmla="*/ 2 h 5166360"/>
              <a:gd name="connsiteX8" fmla="*/ 10863897 w 12191999"/>
              <a:gd name="connsiteY8" fmla="*/ 2 h 5166360"/>
              <a:gd name="connsiteX9" fmla="*/ 12191999 w 12191999"/>
              <a:gd name="connsiteY9" fmla="*/ 2 h 5166360"/>
              <a:gd name="connsiteX10" fmla="*/ 12191999 w 12191999"/>
              <a:gd name="connsiteY10" fmla="*/ 5166360 h 5166360"/>
              <a:gd name="connsiteX11" fmla="*/ 0 w 12191999"/>
              <a:gd name="connsiteY11" fmla="*/ 5166360 h 5166360"/>
              <a:gd name="connsiteX12" fmla="*/ 0 w 12191999"/>
              <a:gd name="connsiteY12" fmla="*/ 2604436 h 5166360"/>
              <a:gd name="connsiteX13" fmla="*/ 862341 w 12191999"/>
              <a:gd name="connsiteY13" fmla="*/ 743371 h 5166360"/>
              <a:gd name="connsiteX14" fmla="*/ 0 w 12191999"/>
              <a:gd name="connsiteY14" fmla="*/ 743371 h 5166360"/>
              <a:gd name="connsiteX15" fmla="*/ 0 w 12191999"/>
              <a:gd name="connsiteY15" fmla="*/ 742508 h 5166360"/>
              <a:gd name="connsiteX16" fmla="*/ 92826 w 12191999"/>
              <a:gd name="connsiteY16" fmla="*/ 742508 h 5166360"/>
              <a:gd name="connsiteX17" fmla="*/ 406486 w 12191999"/>
              <a:gd name="connsiteY17" fmla="*/ 742508 h 5166360"/>
              <a:gd name="connsiteX18" fmla="*/ 406486 w 12191999"/>
              <a:gd name="connsiteY18" fmla="*/ 742507 h 5166360"/>
              <a:gd name="connsiteX19" fmla="*/ 862741 w 12191999"/>
              <a:gd name="connsiteY19" fmla="*/ 742507 h 5166360"/>
              <a:gd name="connsiteX20" fmla="*/ 1206388 w 12191999"/>
              <a:gd name="connsiteY20" fmla="*/ 864 h 5166360"/>
              <a:gd name="connsiteX21" fmla="*/ 748500 w 12191999"/>
              <a:gd name="connsiteY21" fmla="*/ 864 h 5166360"/>
              <a:gd name="connsiteX22" fmla="*/ 0 w 12191999"/>
              <a:gd name="connsiteY22" fmla="*/ 864 h 516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91999" h="5166360">
                <a:moveTo>
                  <a:pt x="0" y="0"/>
                </a:moveTo>
                <a:lnTo>
                  <a:pt x="1822388" y="0"/>
                </a:lnTo>
                <a:lnTo>
                  <a:pt x="6468290" y="0"/>
                </a:lnTo>
                <a:lnTo>
                  <a:pt x="7796394" y="0"/>
                </a:lnTo>
                <a:lnTo>
                  <a:pt x="8376834" y="0"/>
                </a:lnTo>
                <a:lnTo>
                  <a:pt x="9704938" y="0"/>
                </a:lnTo>
                <a:lnTo>
                  <a:pt x="9704938" y="2"/>
                </a:lnTo>
                <a:lnTo>
                  <a:pt x="10283456" y="2"/>
                </a:lnTo>
                <a:lnTo>
                  <a:pt x="10863897" y="2"/>
                </a:lnTo>
                <a:lnTo>
                  <a:pt x="12191999" y="2"/>
                </a:lnTo>
                <a:lnTo>
                  <a:pt x="12191999" y="5166360"/>
                </a:lnTo>
                <a:lnTo>
                  <a:pt x="0" y="5166360"/>
                </a:lnTo>
                <a:lnTo>
                  <a:pt x="0" y="2604436"/>
                </a:lnTo>
                <a:lnTo>
                  <a:pt x="862341" y="743371"/>
                </a:lnTo>
                <a:lnTo>
                  <a:pt x="0" y="743371"/>
                </a:lnTo>
                <a:lnTo>
                  <a:pt x="0" y="742508"/>
                </a:lnTo>
                <a:lnTo>
                  <a:pt x="92826" y="742508"/>
                </a:lnTo>
                <a:lnTo>
                  <a:pt x="406486" y="742508"/>
                </a:lnTo>
                <a:lnTo>
                  <a:pt x="406486" y="742507"/>
                </a:lnTo>
                <a:lnTo>
                  <a:pt x="862741" y="742507"/>
                </a:lnTo>
                <a:lnTo>
                  <a:pt x="1206388" y="864"/>
                </a:lnTo>
                <a:lnTo>
                  <a:pt x="748500" y="864"/>
                </a:lnTo>
                <a:lnTo>
                  <a:pt x="0" y="864"/>
                </a:lnTo>
                <a:close/>
              </a:path>
            </a:pathLst>
          </a:custGeom>
          <a:solidFill>
            <a:srgbClr val="A6A6A6">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4" name="Freeform: Shape 114">
            <a:extLst>
              <a:ext uri="{FF2B5EF4-FFF2-40B4-BE49-F238E27FC236}">
                <a16:creationId xmlns:a16="http://schemas.microsoft.com/office/drawing/2014/main" id="{479F5F2B-8B58-4140-AE6A-51F6C67B18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691641"/>
            <a:ext cx="971654" cy="2096979"/>
          </a:xfrm>
          <a:custGeom>
            <a:avLst/>
            <a:gdLst>
              <a:gd name="connsiteX0" fmla="*/ 0 w 971654"/>
              <a:gd name="connsiteY0" fmla="*/ 0 h 2096979"/>
              <a:gd name="connsiteX1" fmla="*/ 971654 w 971654"/>
              <a:gd name="connsiteY1" fmla="*/ 0 h 2096979"/>
              <a:gd name="connsiteX2" fmla="*/ 0 w 971654"/>
              <a:gd name="connsiteY2" fmla="*/ 2096979 h 2096979"/>
            </a:gdLst>
            <a:ahLst/>
            <a:cxnLst>
              <a:cxn ang="0">
                <a:pos x="connsiteX0" y="connsiteY0"/>
              </a:cxn>
              <a:cxn ang="0">
                <a:pos x="connsiteX1" y="connsiteY1"/>
              </a:cxn>
              <a:cxn ang="0">
                <a:pos x="connsiteX2" y="connsiteY2"/>
              </a:cxn>
            </a:cxnLst>
            <a:rect l="l" t="t" r="r" b="b"/>
            <a:pathLst>
              <a:path w="971654" h="2096979">
                <a:moveTo>
                  <a:pt x="0" y="0"/>
                </a:moveTo>
                <a:lnTo>
                  <a:pt x="971654" y="0"/>
                </a:lnTo>
                <a:lnTo>
                  <a:pt x="0" y="2096979"/>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Picture 4">
            <a:extLst>
              <a:ext uri="{FF2B5EF4-FFF2-40B4-BE49-F238E27FC236}">
                <a16:creationId xmlns:a16="http://schemas.microsoft.com/office/drawing/2014/main" id="{D766BAE6-B3C2-4247-812F-E0604F3E7DAE}"/>
              </a:ext>
            </a:extLst>
          </p:cNvPr>
          <p:cNvPicPr>
            <a:picLocks noChangeAspect="1"/>
          </p:cNvPicPr>
          <p:nvPr/>
        </p:nvPicPr>
        <p:blipFill>
          <a:blip r:embed="rId2"/>
          <a:stretch>
            <a:fillRect/>
          </a:stretch>
        </p:blipFill>
        <p:spPr>
          <a:xfrm>
            <a:off x="1222310" y="1691638"/>
            <a:ext cx="9967528" cy="4606525"/>
          </a:xfrm>
          <a:prstGeom prst="rect">
            <a:avLst/>
          </a:prstGeom>
        </p:spPr>
      </p:pic>
    </p:spTree>
    <p:extLst>
      <p:ext uri="{BB962C8B-B14F-4D97-AF65-F5344CB8AC3E}">
        <p14:creationId xmlns:p14="http://schemas.microsoft.com/office/powerpoint/2010/main" val="27410799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9919C-FC7F-49AF-8F05-DEA3D4CD1B7B}"/>
              </a:ext>
            </a:extLst>
          </p:cNvPr>
          <p:cNvSpPr>
            <a:spLocks noGrp="1"/>
          </p:cNvSpPr>
          <p:nvPr>
            <p:ph type="title"/>
          </p:nvPr>
        </p:nvSpPr>
        <p:spPr>
          <a:xfrm>
            <a:off x="1653363" y="365760"/>
            <a:ext cx="9367203" cy="701894"/>
          </a:xfrm>
        </p:spPr>
        <p:txBody>
          <a:bodyPr>
            <a:normAutofit/>
          </a:bodyPr>
          <a:lstStyle/>
          <a:p>
            <a:r>
              <a:rPr lang="en-US" dirty="0"/>
              <a:t>Distribution</a:t>
            </a:r>
          </a:p>
        </p:txBody>
      </p:sp>
      <p:sp>
        <p:nvSpPr>
          <p:cNvPr id="172" name="Freeform: Shape 110">
            <a:extLst>
              <a:ext uri="{FF2B5EF4-FFF2-40B4-BE49-F238E27FC236}">
                <a16:creationId xmlns:a16="http://schemas.microsoft.com/office/drawing/2014/main" id="{7CB4857B-ED7C-444D-9F04-2F885114A1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764099" cy="1558212"/>
          </a:xfrm>
          <a:custGeom>
            <a:avLst/>
            <a:gdLst>
              <a:gd name="connsiteX0" fmla="*/ 0 w 1764099"/>
              <a:gd name="connsiteY0" fmla="*/ 0 h 1558212"/>
              <a:gd name="connsiteX1" fmla="*/ 1764099 w 1764099"/>
              <a:gd name="connsiteY1" fmla="*/ 0 h 1558212"/>
              <a:gd name="connsiteX2" fmla="*/ 1042087 w 1764099"/>
              <a:gd name="connsiteY2" fmla="*/ 1558212 h 1558212"/>
              <a:gd name="connsiteX3" fmla="*/ 0 w 1764099"/>
              <a:gd name="connsiteY3" fmla="*/ 1558212 h 1558212"/>
            </a:gdLst>
            <a:ahLst/>
            <a:cxnLst>
              <a:cxn ang="0">
                <a:pos x="connsiteX0" y="connsiteY0"/>
              </a:cxn>
              <a:cxn ang="0">
                <a:pos x="connsiteX1" y="connsiteY1"/>
              </a:cxn>
              <a:cxn ang="0">
                <a:pos x="connsiteX2" y="connsiteY2"/>
              </a:cxn>
              <a:cxn ang="0">
                <a:pos x="connsiteX3" y="connsiteY3"/>
              </a:cxn>
            </a:cxnLst>
            <a:rect l="l" t="t" r="r" b="b"/>
            <a:pathLst>
              <a:path w="1764099" h="1558212">
                <a:moveTo>
                  <a:pt x="0" y="0"/>
                </a:moveTo>
                <a:lnTo>
                  <a:pt x="1764099" y="0"/>
                </a:lnTo>
                <a:lnTo>
                  <a:pt x="1042087" y="1558212"/>
                </a:lnTo>
                <a:lnTo>
                  <a:pt x="0" y="1558212"/>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3" name="Freeform: Shape 112">
            <a:extLst>
              <a:ext uri="{FF2B5EF4-FFF2-40B4-BE49-F238E27FC236}">
                <a16:creationId xmlns:a16="http://schemas.microsoft.com/office/drawing/2014/main" id="{D18046FB-44EA-4FD8-A585-EA09A319B2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691640"/>
            <a:ext cx="12191999" cy="5166360"/>
          </a:xfrm>
          <a:custGeom>
            <a:avLst/>
            <a:gdLst>
              <a:gd name="connsiteX0" fmla="*/ 0 w 12191999"/>
              <a:gd name="connsiteY0" fmla="*/ 0 h 5166360"/>
              <a:gd name="connsiteX1" fmla="*/ 1822388 w 12191999"/>
              <a:gd name="connsiteY1" fmla="*/ 0 h 5166360"/>
              <a:gd name="connsiteX2" fmla="*/ 6468290 w 12191999"/>
              <a:gd name="connsiteY2" fmla="*/ 0 h 5166360"/>
              <a:gd name="connsiteX3" fmla="*/ 7796394 w 12191999"/>
              <a:gd name="connsiteY3" fmla="*/ 0 h 5166360"/>
              <a:gd name="connsiteX4" fmla="*/ 8376834 w 12191999"/>
              <a:gd name="connsiteY4" fmla="*/ 0 h 5166360"/>
              <a:gd name="connsiteX5" fmla="*/ 9704938 w 12191999"/>
              <a:gd name="connsiteY5" fmla="*/ 0 h 5166360"/>
              <a:gd name="connsiteX6" fmla="*/ 9704938 w 12191999"/>
              <a:gd name="connsiteY6" fmla="*/ 2 h 5166360"/>
              <a:gd name="connsiteX7" fmla="*/ 10283456 w 12191999"/>
              <a:gd name="connsiteY7" fmla="*/ 2 h 5166360"/>
              <a:gd name="connsiteX8" fmla="*/ 10863897 w 12191999"/>
              <a:gd name="connsiteY8" fmla="*/ 2 h 5166360"/>
              <a:gd name="connsiteX9" fmla="*/ 12191999 w 12191999"/>
              <a:gd name="connsiteY9" fmla="*/ 2 h 5166360"/>
              <a:gd name="connsiteX10" fmla="*/ 12191999 w 12191999"/>
              <a:gd name="connsiteY10" fmla="*/ 5166360 h 5166360"/>
              <a:gd name="connsiteX11" fmla="*/ 0 w 12191999"/>
              <a:gd name="connsiteY11" fmla="*/ 5166360 h 5166360"/>
              <a:gd name="connsiteX12" fmla="*/ 0 w 12191999"/>
              <a:gd name="connsiteY12" fmla="*/ 2604436 h 5166360"/>
              <a:gd name="connsiteX13" fmla="*/ 862341 w 12191999"/>
              <a:gd name="connsiteY13" fmla="*/ 743371 h 5166360"/>
              <a:gd name="connsiteX14" fmla="*/ 0 w 12191999"/>
              <a:gd name="connsiteY14" fmla="*/ 743371 h 5166360"/>
              <a:gd name="connsiteX15" fmla="*/ 0 w 12191999"/>
              <a:gd name="connsiteY15" fmla="*/ 742508 h 5166360"/>
              <a:gd name="connsiteX16" fmla="*/ 92826 w 12191999"/>
              <a:gd name="connsiteY16" fmla="*/ 742508 h 5166360"/>
              <a:gd name="connsiteX17" fmla="*/ 406486 w 12191999"/>
              <a:gd name="connsiteY17" fmla="*/ 742508 h 5166360"/>
              <a:gd name="connsiteX18" fmla="*/ 406486 w 12191999"/>
              <a:gd name="connsiteY18" fmla="*/ 742507 h 5166360"/>
              <a:gd name="connsiteX19" fmla="*/ 862741 w 12191999"/>
              <a:gd name="connsiteY19" fmla="*/ 742507 h 5166360"/>
              <a:gd name="connsiteX20" fmla="*/ 1206388 w 12191999"/>
              <a:gd name="connsiteY20" fmla="*/ 864 h 5166360"/>
              <a:gd name="connsiteX21" fmla="*/ 748500 w 12191999"/>
              <a:gd name="connsiteY21" fmla="*/ 864 h 5166360"/>
              <a:gd name="connsiteX22" fmla="*/ 0 w 12191999"/>
              <a:gd name="connsiteY22" fmla="*/ 864 h 516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91999" h="5166360">
                <a:moveTo>
                  <a:pt x="0" y="0"/>
                </a:moveTo>
                <a:lnTo>
                  <a:pt x="1822388" y="0"/>
                </a:lnTo>
                <a:lnTo>
                  <a:pt x="6468290" y="0"/>
                </a:lnTo>
                <a:lnTo>
                  <a:pt x="7796394" y="0"/>
                </a:lnTo>
                <a:lnTo>
                  <a:pt x="8376834" y="0"/>
                </a:lnTo>
                <a:lnTo>
                  <a:pt x="9704938" y="0"/>
                </a:lnTo>
                <a:lnTo>
                  <a:pt x="9704938" y="2"/>
                </a:lnTo>
                <a:lnTo>
                  <a:pt x="10283456" y="2"/>
                </a:lnTo>
                <a:lnTo>
                  <a:pt x="10863897" y="2"/>
                </a:lnTo>
                <a:lnTo>
                  <a:pt x="12191999" y="2"/>
                </a:lnTo>
                <a:lnTo>
                  <a:pt x="12191999" y="5166360"/>
                </a:lnTo>
                <a:lnTo>
                  <a:pt x="0" y="5166360"/>
                </a:lnTo>
                <a:lnTo>
                  <a:pt x="0" y="2604436"/>
                </a:lnTo>
                <a:lnTo>
                  <a:pt x="862341" y="743371"/>
                </a:lnTo>
                <a:lnTo>
                  <a:pt x="0" y="743371"/>
                </a:lnTo>
                <a:lnTo>
                  <a:pt x="0" y="742508"/>
                </a:lnTo>
                <a:lnTo>
                  <a:pt x="92826" y="742508"/>
                </a:lnTo>
                <a:lnTo>
                  <a:pt x="406486" y="742508"/>
                </a:lnTo>
                <a:lnTo>
                  <a:pt x="406486" y="742507"/>
                </a:lnTo>
                <a:lnTo>
                  <a:pt x="862741" y="742507"/>
                </a:lnTo>
                <a:lnTo>
                  <a:pt x="1206388" y="864"/>
                </a:lnTo>
                <a:lnTo>
                  <a:pt x="748500" y="864"/>
                </a:lnTo>
                <a:lnTo>
                  <a:pt x="0" y="864"/>
                </a:lnTo>
                <a:close/>
              </a:path>
            </a:pathLst>
          </a:custGeom>
          <a:solidFill>
            <a:srgbClr val="A6A6A6">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4" name="Freeform: Shape 114">
            <a:extLst>
              <a:ext uri="{FF2B5EF4-FFF2-40B4-BE49-F238E27FC236}">
                <a16:creationId xmlns:a16="http://schemas.microsoft.com/office/drawing/2014/main" id="{479F5F2B-8B58-4140-AE6A-51F6C67B18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691641"/>
            <a:ext cx="971654" cy="2096979"/>
          </a:xfrm>
          <a:custGeom>
            <a:avLst/>
            <a:gdLst>
              <a:gd name="connsiteX0" fmla="*/ 0 w 971654"/>
              <a:gd name="connsiteY0" fmla="*/ 0 h 2096979"/>
              <a:gd name="connsiteX1" fmla="*/ 971654 w 971654"/>
              <a:gd name="connsiteY1" fmla="*/ 0 h 2096979"/>
              <a:gd name="connsiteX2" fmla="*/ 0 w 971654"/>
              <a:gd name="connsiteY2" fmla="*/ 2096979 h 2096979"/>
            </a:gdLst>
            <a:ahLst/>
            <a:cxnLst>
              <a:cxn ang="0">
                <a:pos x="connsiteX0" y="connsiteY0"/>
              </a:cxn>
              <a:cxn ang="0">
                <a:pos x="connsiteX1" y="connsiteY1"/>
              </a:cxn>
              <a:cxn ang="0">
                <a:pos x="connsiteX2" y="connsiteY2"/>
              </a:cxn>
            </a:cxnLst>
            <a:rect l="l" t="t" r="r" b="b"/>
            <a:pathLst>
              <a:path w="971654" h="2096979">
                <a:moveTo>
                  <a:pt x="0" y="0"/>
                </a:moveTo>
                <a:lnTo>
                  <a:pt x="971654" y="0"/>
                </a:lnTo>
                <a:lnTo>
                  <a:pt x="0" y="2096979"/>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1" name="Picture 10">
            <a:extLst>
              <a:ext uri="{FF2B5EF4-FFF2-40B4-BE49-F238E27FC236}">
                <a16:creationId xmlns:a16="http://schemas.microsoft.com/office/drawing/2014/main" id="{BF0641E8-A52D-462B-B19A-BB75A1384E03}"/>
              </a:ext>
            </a:extLst>
          </p:cNvPr>
          <p:cNvPicPr>
            <a:picLocks noChangeAspect="1"/>
          </p:cNvPicPr>
          <p:nvPr/>
        </p:nvPicPr>
        <p:blipFill>
          <a:blip r:embed="rId2"/>
          <a:stretch>
            <a:fillRect/>
          </a:stretch>
        </p:blipFill>
        <p:spPr>
          <a:xfrm>
            <a:off x="1233486" y="2273417"/>
            <a:ext cx="9888602" cy="4584582"/>
          </a:xfrm>
          <a:prstGeom prst="rect">
            <a:avLst/>
          </a:prstGeom>
        </p:spPr>
      </p:pic>
      <p:sp>
        <p:nvSpPr>
          <p:cNvPr id="14" name="Content Placeholder 13">
            <a:extLst>
              <a:ext uri="{FF2B5EF4-FFF2-40B4-BE49-F238E27FC236}">
                <a16:creationId xmlns:a16="http://schemas.microsoft.com/office/drawing/2014/main" id="{48033603-6085-46E4-B37A-EA6FDFC12CCF}"/>
              </a:ext>
            </a:extLst>
          </p:cNvPr>
          <p:cNvSpPr txBox="1">
            <a:spLocks noGrp="1"/>
          </p:cNvSpPr>
          <p:nvPr>
            <p:ph idx="1"/>
          </p:nvPr>
        </p:nvSpPr>
        <p:spPr>
          <a:xfrm>
            <a:off x="1352938" y="1692275"/>
            <a:ext cx="10000861" cy="327782"/>
          </a:xfrm>
          <a:prstGeom prst="rect">
            <a:avLst/>
          </a:prstGeom>
          <a:noFill/>
        </p:spPr>
        <p:txBody>
          <a:bodyPr wrap="square" rtlCol="0">
            <a:spAutoFit/>
          </a:bodyPr>
          <a:lstStyle/>
          <a:p>
            <a:pPr marL="0" indent="0">
              <a:buNone/>
            </a:pPr>
            <a:r>
              <a:rPr lang="en-US" sz="1700" dirty="0"/>
              <a:t>Seaborn Plot proves the same what we derived PMF and CDF</a:t>
            </a:r>
          </a:p>
        </p:txBody>
      </p:sp>
    </p:spTree>
    <p:extLst>
      <p:ext uri="{BB962C8B-B14F-4D97-AF65-F5344CB8AC3E}">
        <p14:creationId xmlns:p14="http://schemas.microsoft.com/office/powerpoint/2010/main" val="5536051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9919C-FC7F-49AF-8F05-DEA3D4CD1B7B}"/>
              </a:ext>
            </a:extLst>
          </p:cNvPr>
          <p:cNvSpPr>
            <a:spLocks noGrp="1"/>
          </p:cNvSpPr>
          <p:nvPr>
            <p:ph type="title"/>
          </p:nvPr>
        </p:nvSpPr>
        <p:spPr>
          <a:xfrm>
            <a:off x="1653363" y="365760"/>
            <a:ext cx="9367203" cy="1188720"/>
          </a:xfrm>
        </p:spPr>
        <p:txBody>
          <a:bodyPr>
            <a:normAutofit/>
          </a:bodyPr>
          <a:lstStyle/>
          <a:p>
            <a:r>
              <a:rPr lang="en-US" dirty="0"/>
              <a:t>Conclusions/Remarks</a:t>
            </a:r>
          </a:p>
        </p:txBody>
      </p:sp>
      <p:sp>
        <p:nvSpPr>
          <p:cNvPr id="172" name="Freeform: Shape 110">
            <a:extLst>
              <a:ext uri="{FF2B5EF4-FFF2-40B4-BE49-F238E27FC236}">
                <a16:creationId xmlns:a16="http://schemas.microsoft.com/office/drawing/2014/main" id="{7CB4857B-ED7C-444D-9F04-2F885114A1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764099" cy="1558212"/>
          </a:xfrm>
          <a:custGeom>
            <a:avLst/>
            <a:gdLst>
              <a:gd name="connsiteX0" fmla="*/ 0 w 1764099"/>
              <a:gd name="connsiteY0" fmla="*/ 0 h 1558212"/>
              <a:gd name="connsiteX1" fmla="*/ 1764099 w 1764099"/>
              <a:gd name="connsiteY1" fmla="*/ 0 h 1558212"/>
              <a:gd name="connsiteX2" fmla="*/ 1042087 w 1764099"/>
              <a:gd name="connsiteY2" fmla="*/ 1558212 h 1558212"/>
              <a:gd name="connsiteX3" fmla="*/ 0 w 1764099"/>
              <a:gd name="connsiteY3" fmla="*/ 1558212 h 1558212"/>
            </a:gdLst>
            <a:ahLst/>
            <a:cxnLst>
              <a:cxn ang="0">
                <a:pos x="connsiteX0" y="connsiteY0"/>
              </a:cxn>
              <a:cxn ang="0">
                <a:pos x="connsiteX1" y="connsiteY1"/>
              </a:cxn>
              <a:cxn ang="0">
                <a:pos x="connsiteX2" y="connsiteY2"/>
              </a:cxn>
              <a:cxn ang="0">
                <a:pos x="connsiteX3" y="connsiteY3"/>
              </a:cxn>
            </a:cxnLst>
            <a:rect l="l" t="t" r="r" b="b"/>
            <a:pathLst>
              <a:path w="1764099" h="1558212">
                <a:moveTo>
                  <a:pt x="0" y="0"/>
                </a:moveTo>
                <a:lnTo>
                  <a:pt x="1764099" y="0"/>
                </a:lnTo>
                <a:lnTo>
                  <a:pt x="1042087" y="1558212"/>
                </a:lnTo>
                <a:lnTo>
                  <a:pt x="0" y="1558212"/>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3" name="Freeform: Shape 112">
            <a:extLst>
              <a:ext uri="{FF2B5EF4-FFF2-40B4-BE49-F238E27FC236}">
                <a16:creationId xmlns:a16="http://schemas.microsoft.com/office/drawing/2014/main" id="{D18046FB-44EA-4FD8-A585-EA09A319B2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691640"/>
            <a:ext cx="12191999" cy="5166360"/>
          </a:xfrm>
          <a:custGeom>
            <a:avLst/>
            <a:gdLst>
              <a:gd name="connsiteX0" fmla="*/ 0 w 12191999"/>
              <a:gd name="connsiteY0" fmla="*/ 0 h 5166360"/>
              <a:gd name="connsiteX1" fmla="*/ 1822388 w 12191999"/>
              <a:gd name="connsiteY1" fmla="*/ 0 h 5166360"/>
              <a:gd name="connsiteX2" fmla="*/ 6468290 w 12191999"/>
              <a:gd name="connsiteY2" fmla="*/ 0 h 5166360"/>
              <a:gd name="connsiteX3" fmla="*/ 7796394 w 12191999"/>
              <a:gd name="connsiteY3" fmla="*/ 0 h 5166360"/>
              <a:gd name="connsiteX4" fmla="*/ 8376834 w 12191999"/>
              <a:gd name="connsiteY4" fmla="*/ 0 h 5166360"/>
              <a:gd name="connsiteX5" fmla="*/ 9704938 w 12191999"/>
              <a:gd name="connsiteY5" fmla="*/ 0 h 5166360"/>
              <a:gd name="connsiteX6" fmla="*/ 9704938 w 12191999"/>
              <a:gd name="connsiteY6" fmla="*/ 2 h 5166360"/>
              <a:gd name="connsiteX7" fmla="*/ 10283456 w 12191999"/>
              <a:gd name="connsiteY7" fmla="*/ 2 h 5166360"/>
              <a:gd name="connsiteX8" fmla="*/ 10863897 w 12191999"/>
              <a:gd name="connsiteY8" fmla="*/ 2 h 5166360"/>
              <a:gd name="connsiteX9" fmla="*/ 12191999 w 12191999"/>
              <a:gd name="connsiteY9" fmla="*/ 2 h 5166360"/>
              <a:gd name="connsiteX10" fmla="*/ 12191999 w 12191999"/>
              <a:gd name="connsiteY10" fmla="*/ 5166360 h 5166360"/>
              <a:gd name="connsiteX11" fmla="*/ 0 w 12191999"/>
              <a:gd name="connsiteY11" fmla="*/ 5166360 h 5166360"/>
              <a:gd name="connsiteX12" fmla="*/ 0 w 12191999"/>
              <a:gd name="connsiteY12" fmla="*/ 2604436 h 5166360"/>
              <a:gd name="connsiteX13" fmla="*/ 862341 w 12191999"/>
              <a:gd name="connsiteY13" fmla="*/ 743371 h 5166360"/>
              <a:gd name="connsiteX14" fmla="*/ 0 w 12191999"/>
              <a:gd name="connsiteY14" fmla="*/ 743371 h 5166360"/>
              <a:gd name="connsiteX15" fmla="*/ 0 w 12191999"/>
              <a:gd name="connsiteY15" fmla="*/ 742508 h 5166360"/>
              <a:gd name="connsiteX16" fmla="*/ 92826 w 12191999"/>
              <a:gd name="connsiteY16" fmla="*/ 742508 h 5166360"/>
              <a:gd name="connsiteX17" fmla="*/ 406486 w 12191999"/>
              <a:gd name="connsiteY17" fmla="*/ 742508 h 5166360"/>
              <a:gd name="connsiteX18" fmla="*/ 406486 w 12191999"/>
              <a:gd name="connsiteY18" fmla="*/ 742507 h 5166360"/>
              <a:gd name="connsiteX19" fmla="*/ 862741 w 12191999"/>
              <a:gd name="connsiteY19" fmla="*/ 742507 h 5166360"/>
              <a:gd name="connsiteX20" fmla="*/ 1206388 w 12191999"/>
              <a:gd name="connsiteY20" fmla="*/ 864 h 5166360"/>
              <a:gd name="connsiteX21" fmla="*/ 748500 w 12191999"/>
              <a:gd name="connsiteY21" fmla="*/ 864 h 5166360"/>
              <a:gd name="connsiteX22" fmla="*/ 0 w 12191999"/>
              <a:gd name="connsiteY22" fmla="*/ 864 h 516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91999" h="5166360">
                <a:moveTo>
                  <a:pt x="0" y="0"/>
                </a:moveTo>
                <a:lnTo>
                  <a:pt x="1822388" y="0"/>
                </a:lnTo>
                <a:lnTo>
                  <a:pt x="6468290" y="0"/>
                </a:lnTo>
                <a:lnTo>
                  <a:pt x="7796394" y="0"/>
                </a:lnTo>
                <a:lnTo>
                  <a:pt x="8376834" y="0"/>
                </a:lnTo>
                <a:lnTo>
                  <a:pt x="9704938" y="0"/>
                </a:lnTo>
                <a:lnTo>
                  <a:pt x="9704938" y="2"/>
                </a:lnTo>
                <a:lnTo>
                  <a:pt x="10283456" y="2"/>
                </a:lnTo>
                <a:lnTo>
                  <a:pt x="10863897" y="2"/>
                </a:lnTo>
                <a:lnTo>
                  <a:pt x="12191999" y="2"/>
                </a:lnTo>
                <a:lnTo>
                  <a:pt x="12191999" y="5166360"/>
                </a:lnTo>
                <a:lnTo>
                  <a:pt x="0" y="5166360"/>
                </a:lnTo>
                <a:lnTo>
                  <a:pt x="0" y="2604436"/>
                </a:lnTo>
                <a:lnTo>
                  <a:pt x="862341" y="743371"/>
                </a:lnTo>
                <a:lnTo>
                  <a:pt x="0" y="743371"/>
                </a:lnTo>
                <a:lnTo>
                  <a:pt x="0" y="742508"/>
                </a:lnTo>
                <a:lnTo>
                  <a:pt x="92826" y="742508"/>
                </a:lnTo>
                <a:lnTo>
                  <a:pt x="406486" y="742508"/>
                </a:lnTo>
                <a:lnTo>
                  <a:pt x="406486" y="742507"/>
                </a:lnTo>
                <a:lnTo>
                  <a:pt x="862741" y="742507"/>
                </a:lnTo>
                <a:lnTo>
                  <a:pt x="1206388" y="864"/>
                </a:lnTo>
                <a:lnTo>
                  <a:pt x="748500" y="864"/>
                </a:lnTo>
                <a:lnTo>
                  <a:pt x="0" y="864"/>
                </a:lnTo>
                <a:close/>
              </a:path>
            </a:pathLst>
          </a:custGeom>
          <a:solidFill>
            <a:srgbClr val="A6A6A6">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4" name="Freeform: Shape 114">
            <a:extLst>
              <a:ext uri="{FF2B5EF4-FFF2-40B4-BE49-F238E27FC236}">
                <a16:creationId xmlns:a16="http://schemas.microsoft.com/office/drawing/2014/main" id="{479F5F2B-8B58-4140-AE6A-51F6C67B18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691641"/>
            <a:ext cx="971654" cy="2096979"/>
          </a:xfrm>
          <a:custGeom>
            <a:avLst/>
            <a:gdLst>
              <a:gd name="connsiteX0" fmla="*/ 0 w 971654"/>
              <a:gd name="connsiteY0" fmla="*/ 0 h 2096979"/>
              <a:gd name="connsiteX1" fmla="*/ 971654 w 971654"/>
              <a:gd name="connsiteY1" fmla="*/ 0 h 2096979"/>
              <a:gd name="connsiteX2" fmla="*/ 0 w 971654"/>
              <a:gd name="connsiteY2" fmla="*/ 2096979 h 2096979"/>
            </a:gdLst>
            <a:ahLst/>
            <a:cxnLst>
              <a:cxn ang="0">
                <a:pos x="connsiteX0" y="connsiteY0"/>
              </a:cxn>
              <a:cxn ang="0">
                <a:pos x="connsiteX1" y="connsiteY1"/>
              </a:cxn>
              <a:cxn ang="0">
                <a:pos x="connsiteX2" y="connsiteY2"/>
              </a:cxn>
            </a:cxnLst>
            <a:rect l="l" t="t" r="r" b="b"/>
            <a:pathLst>
              <a:path w="971654" h="2096979">
                <a:moveTo>
                  <a:pt x="0" y="0"/>
                </a:moveTo>
                <a:lnTo>
                  <a:pt x="971654" y="0"/>
                </a:lnTo>
                <a:lnTo>
                  <a:pt x="0" y="2096979"/>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Content Placeholder 2">
            <a:extLst>
              <a:ext uri="{FF2B5EF4-FFF2-40B4-BE49-F238E27FC236}">
                <a16:creationId xmlns:a16="http://schemas.microsoft.com/office/drawing/2014/main" id="{AF940B87-3F1A-4111-BFEE-AB76302CAD41}"/>
              </a:ext>
            </a:extLst>
          </p:cNvPr>
          <p:cNvSpPr>
            <a:spLocks noGrp="1"/>
          </p:cNvSpPr>
          <p:nvPr>
            <p:ph idx="1"/>
          </p:nvPr>
        </p:nvSpPr>
        <p:spPr>
          <a:xfrm>
            <a:off x="1653363" y="2176272"/>
            <a:ext cx="9367204" cy="4041648"/>
          </a:xfrm>
        </p:spPr>
        <p:txBody>
          <a:bodyPr anchor="t">
            <a:normAutofit/>
          </a:bodyPr>
          <a:lstStyle/>
          <a:p>
            <a:pPr>
              <a:buFont typeface="Wingdings" panose="05000000000000000000" pitchFamily="2" charset="2"/>
              <a:buChar char="Ø"/>
            </a:pPr>
            <a:r>
              <a:rPr lang="en-US" sz="1700" dirty="0"/>
              <a:t>Churn is high when Monthly Charges are high, Telecom companies needs to respond and review with customer whenever they reach out to customer services for any charge related issues</a:t>
            </a:r>
            <a:br>
              <a:rPr lang="en-US" sz="1700" dirty="0"/>
            </a:br>
            <a:endParaRPr lang="en-US" sz="1700" dirty="0"/>
          </a:p>
          <a:p>
            <a:pPr>
              <a:buFont typeface="Wingdings" panose="05000000000000000000" pitchFamily="2" charset="2"/>
              <a:buChar char="Ø"/>
            </a:pPr>
            <a:r>
              <a:rPr lang="en-US" sz="1700" dirty="0"/>
              <a:t>higher Churn at lower </a:t>
            </a:r>
            <a:r>
              <a:rPr lang="en-US" sz="1700"/>
              <a:t>Total Charges</a:t>
            </a:r>
          </a:p>
          <a:p>
            <a:pPr marL="0" indent="0">
              <a:buNone/>
            </a:pPr>
            <a:endParaRPr lang="en-US" sz="1700" dirty="0"/>
          </a:p>
          <a:p>
            <a:pPr>
              <a:buFont typeface="Wingdings" panose="05000000000000000000" pitchFamily="2" charset="2"/>
              <a:buChar char="Ø"/>
            </a:pPr>
            <a:r>
              <a:rPr lang="en-US" sz="1700" dirty="0"/>
              <a:t>However, if we combine the insights of 3 parameters Tenure, Monthly Charges &amp; Total Charges then the picture is bit clear :- Higher Monthly Charge at lower tenure results into lower Total Charge. Hence, all these 3 factors viz Higher Monthly Charge, Lower tenure and Lower Total Charge are linked to High Churn</a:t>
            </a:r>
          </a:p>
        </p:txBody>
      </p:sp>
    </p:spTree>
    <p:extLst>
      <p:ext uri="{BB962C8B-B14F-4D97-AF65-F5344CB8AC3E}">
        <p14:creationId xmlns:p14="http://schemas.microsoft.com/office/powerpoint/2010/main" val="20256620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9919C-FC7F-49AF-8F05-DEA3D4CD1B7B}"/>
              </a:ext>
            </a:extLst>
          </p:cNvPr>
          <p:cNvSpPr>
            <a:spLocks noGrp="1"/>
          </p:cNvSpPr>
          <p:nvPr>
            <p:ph type="title"/>
          </p:nvPr>
        </p:nvSpPr>
        <p:spPr>
          <a:xfrm>
            <a:off x="1653363" y="365760"/>
            <a:ext cx="9367203" cy="701894"/>
          </a:xfrm>
        </p:spPr>
        <p:txBody>
          <a:bodyPr>
            <a:normAutofit/>
          </a:bodyPr>
          <a:lstStyle/>
          <a:p>
            <a:r>
              <a:rPr lang="en-US" dirty="0"/>
              <a:t>Logistic Regression</a:t>
            </a:r>
          </a:p>
        </p:txBody>
      </p:sp>
      <p:sp>
        <p:nvSpPr>
          <p:cNvPr id="172" name="Freeform: Shape 110">
            <a:extLst>
              <a:ext uri="{FF2B5EF4-FFF2-40B4-BE49-F238E27FC236}">
                <a16:creationId xmlns:a16="http://schemas.microsoft.com/office/drawing/2014/main" id="{7CB4857B-ED7C-444D-9F04-2F885114A1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764099" cy="1558212"/>
          </a:xfrm>
          <a:custGeom>
            <a:avLst/>
            <a:gdLst>
              <a:gd name="connsiteX0" fmla="*/ 0 w 1764099"/>
              <a:gd name="connsiteY0" fmla="*/ 0 h 1558212"/>
              <a:gd name="connsiteX1" fmla="*/ 1764099 w 1764099"/>
              <a:gd name="connsiteY1" fmla="*/ 0 h 1558212"/>
              <a:gd name="connsiteX2" fmla="*/ 1042087 w 1764099"/>
              <a:gd name="connsiteY2" fmla="*/ 1558212 h 1558212"/>
              <a:gd name="connsiteX3" fmla="*/ 0 w 1764099"/>
              <a:gd name="connsiteY3" fmla="*/ 1558212 h 1558212"/>
            </a:gdLst>
            <a:ahLst/>
            <a:cxnLst>
              <a:cxn ang="0">
                <a:pos x="connsiteX0" y="connsiteY0"/>
              </a:cxn>
              <a:cxn ang="0">
                <a:pos x="connsiteX1" y="connsiteY1"/>
              </a:cxn>
              <a:cxn ang="0">
                <a:pos x="connsiteX2" y="connsiteY2"/>
              </a:cxn>
              <a:cxn ang="0">
                <a:pos x="connsiteX3" y="connsiteY3"/>
              </a:cxn>
            </a:cxnLst>
            <a:rect l="l" t="t" r="r" b="b"/>
            <a:pathLst>
              <a:path w="1764099" h="1558212">
                <a:moveTo>
                  <a:pt x="0" y="0"/>
                </a:moveTo>
                <a:lnTo>
                  <a:pt x="1764099" y="0"/>
                </a:lnTo>
                <a:lnTo>
                  <a:pt x="1042087" y="1558212"/>
                </a:lnTo>
                <a:lnTo>
                  <a:pt x="0" y="1558212"/>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3" name="Freeform: Shape 112">
            <a:extLst>
              <a:ext uri="{FF2B5EF4-FFF2-40B4-BE49-F238E27FC236}">
                <a16:creationId xmlns:a16="http://schemas.microsoft.com/office/drawing/2014/main" id="{D18046FB-44EA-4FD8-A585-EA09A319B2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691640"/>
            <a:ext cx="12191999" cy="5166360"/>
          </a:xfrm>
          <a:custGeom>
            <a:avLst/>
            <a:gdLst>
              <a:gd name="connsiteX0" fmla="*/ 0 w 12191999"/>
              <a:gd name="connsiteY0" fmla="*/ 0 h 5166360"/>
              <a:gd name="connsiteX1" fmla="*/ 1822388 w 12191999"/>
              <a:gd name="connsiteY1" fmla="*/ 0 h 5166360"/>
              <a:gd name="connsiteX2" fmla="*/ 6468290 w 12191999"/>
              <a:gd name="connsiteY2" fmla="*/ 0 h 5166360"/>
              <a:gd name="connsiteX3" fmla="*/ 7796394 w 12191999"/>
              <a:gd name="connsiteY3" fmla="*/ 0 h 5166360"/>
              <a:gd name="connsiteX4" fmla="*/ 8376834 w 12191999"/>
              <a:gd name="connsiteY4" fmla="*/ 0 h 5166360"/>
              <a:gd name="connsiteX5" fmla="*/ 9704938 w 12191999"/>
              <a:gd name="connsiteY5" fmla="*/ 0 h 5166360"/>
              <a:gd name="connsiteX6" fmla="*/ 9704938 w 12191999"/>
              <a:gd name="connsiteY6" fmla="*/ 2 h 5166360"/>
              <a:gd name="connsiteX7" fmla="*/ 10283456 w 12191999"/>
              <a:gd name="connsiteY7" fmla="*/ 2 h 5166360"/>
              <a:gd name="connsiteX8" fmla="*/ 10863897 w 12191999"/>
              <a:gd name="connsiteY8" fmla="*/ 2 h 5166360"/>
              <a:gd name="connsiteX9" fmla="*/ 12191999 w 12191999"/>
              <a:gd name="connsiteY9" fmla="*/ 2 h 5166360"/>
              <a:gd name="connsiteX10" fmla="*/ 12191999 w 12191999"/>
              <a:gd name="connsiteY10" fmla="*/ 5166360 h 5166360"/>
              <a:gd name="connsiteX11" fmla="*/ 0 w 12191999"/>
              <a:gd name="connsiteY11" fmla="*/ 5166360 h 5166360"/>
              <a:gd name="connsiteX12" fmla="*/ 0 w 12191999"/>
              <a:gd name="connsiteY12" fmla="*/ 2604436 h 5166360"/>
              <a:gd name="connsiteX13" fmla="*/ 862341 w 12191999"/>
              <a:gd name="connsiteY13" fmla="*/ 743371 h 5166360"/>
              <a:gd name="connsiteX14" fmla="*/ 0 w 12191999"/>
              <a:gd name="connsiteY14" fmla="*/ 743371 h 5166360"/>
              <a:gd name="connsiteX15" fmla="*/ 0 w 12191999"/>
              <a:gd name="connsiteY15" fmla="*/ 742508 h 5166360"/>
              <a:gd name="connsiteX16" fmla="*/ 92826 w 12191999"/>
              <a:gd name="connsiteY16" fmla="*/ 742508 h 5166360"/>
              <a:gd name="connsiteX17" fmla="*/ 406486 w 12191999"/>
              <a:gd name="connsiteY17" fmla="*/ 742508 h 5166360"/>
              <a:gd name="connsiteX18" fmla="*/ 406486 w 12191999"/>
              <a:gd name="connsiteY18" fmla="*/ 742507 h 5166360"/>
              <a:gd name="connsiteX19" fmla="*/ 862741 w 12191999"/>
              <a:gd name="connsiteY19" fmla="*/ 742507 h 5166360"/>
              <a:gd name="connsiteX20" fmla="*/ 1206388 w 12191999"/>
              <a:gd name="connsiteY20" fmla="*/ 864 h 5166360"/>
              <a:gd name="connsiteX21" fmla="*/ 748500 w 12191999"/>
              <a:gd name="connsiteY21" fmla="*/ 864 h 5166360"/>
              <a:gd name="connsiteX22" fmla="*/ 0 w 12191999"/>
              <a:gd name="connsiteY22" fmla="*/ 864 h 516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91999" h="5166360">
                <a:moveTo>
                  <a:pt x="0" y="0"/>
                </a:moveTo>
                <a:lnTo>
                  <a:pt x="1822388" y="0"/>
                </a:lnTo>
                <a:lnTo>
                  <a:pt x="6468290" y="0"/>
                </a:lnTo>
                <a:lnTo>
                  <a:pt x="7796394" y="0"/>
                </a:lnTo>
                <a:lnTo>
                  <a:pt x="8376834" y="0"/>
                </a:lnTo>
                <a:lnTo>
                  <a:pt x="9704938" y="0"/>
                </a:lnTo>
                <a:lnTo>
                  <a:pt x="9704938" y="2"/>
                </a:lnTo>
                <a:lnTo>
                  <a:pt x="10283456" y="2"/>
                </a:lnTo>
                <a:lnTo>
                  <a:pt x="10863897" y="2"/>
                </a:lnTo>
                <a:lnTo>
                  <a:pt x="12191999" y="2"/>
                </a:lnTo>
                <a:lnTo>
                  <a:pt x="12191999" y="5166360"/>
                </a:lnTo>
                <a:lnTo>
                  <a:pt x="0" y="5166360"/>
                </a:lnTo>
                <a:lnTo>
                  <a:pt x="0" y="2604436"/>
                </a:lnTo>
                <a:lnTo>
                  <a:pt x="862341" y="743371"/>
                </a:lnTo>
                <a:lnTo>
                  <a:pt x="0" y="743371"/>
                </a:lnTo>
                <a:lnTo>
                  <a:pt x="0" y="742508"/>
                </a:lnTo>
                <a:lnTo>
                  <a:pt x="92826" y="742508"/>
                </a:lnTo>
                <a:lnTo>
                  <a:pt x="406486" y="742508"/>
                </a:lnTo>
                <a:lnTo>
                  <a:pt x="406486" y="742507"/>
                </a:lnTo>
                <a:lnTo>
                  <a:pt x="862741" y="742507"/>
                </a:lnTo>
                <a:lnTo>
                  <a:pt x="1206388" y="864"/>
                </a:lnTo>
                <a:lnTo>
                  <a:pt x="748500" y="864"/>
                </a:lnTo>
                <a:lnTo>
                  <a:pt x="0" y="864"/>
                </a:lnTo>
                <a:close/>
              </a:path>
            </a:pathLst>
          </a:custGeom>
          <a:solidFill>
            <a:srgbClr val="A6A6A6">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4" name="Freeform: Shape 114">
            <a:extLst>
              <a:ext uri="{FF2B5EF4-FFF2-40B4-BE49-F238E27FC236}">
                <a16:creationId xmlns:a16="http://schemas.microsoft.com/office/drawing/2014/main" id="{479F5F2B-8B58-4140-AE6A-51F6C67B18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691641"/>
            <a:ext cx="971654" cy="2096979"/>
          </a:xfrm>
          <a:custGeom>
            <a:avLst/>
            <a:gdLst>
              <a:gd name="connsiteX0" fmla="*/ 0 w 971654"/>
              <a:gd name="connsiteY0" fmla="*/ 0 h 2096979"/>
              <a:gd name="connsiteX1" fmla="*/ 971654 w 971654"/>
              <a:gd name="connsiteY1" fmla="*/ 0 h 2096979"/>
              <a:gd name="connsiteX2" fmla="*/ 0 w 971654"/>
              <a:gd name="connsiteY2" fmla="*/ 2096979 h 2096979"/>
            </a:gdLst>
            <a:ahLst/>
            <a:cxnLst>
              <a:cxn ang="0">
                <a:pos x="connsiteX0" y="connsiteY0"/>
              </a:cxn>
              <a:cxn ang="0">
                <a:pos x="connsiteX1" y="connsiteY1"/>
              </a:cxn>
              <a:cxn ang="0">
                <a:pos x="connsiteX2" y="connsiteY2"/>
              </a:cxn>
            </a:cxnLst>
            <a:rect l="l" t="t" r="r" b="b"/>
            <a:pathLst>
              <a:path w="971654" h="2096979">
                <a:moveTo>
                  <a:pt x="0" y="0"/>
                </a:moveTo>
                <a:lnTo>
                  <a:pt x="971654" y="0"/>
                </a:lnTo>
                <a:lnTo>
                  <a:pt x="0" y="2096979"/>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6" name="Picture 5">
            <a:extLst>
              <a:ext uri="{FF2B5EF4-FFF2-40B4-BE49-F238E27FC236}">
                <a16:creationId xmlns:a16="http://schemas.microsoft.com/office/drawing/2014/main" id="{4707C007-30EB-4BE9-A0D2-B6BA2012B8FA}"/>
              </a:ext>
            </a:extLst>
          </p:cNvPr>
          <p:cNvPicPr>
            <a:picLocks noChangeAspect="1"/>
          </p:cNvPicPr>
          <p:nvPr/>
        </p:nvPicPr>
        <p:blipFill>
          <a:blip r:embed="rId2"/>
          <a:stretch>
            <a:fillRect/>
          </a:stretch>
        </p:blipFill>
        <p:spPr>
          <a:xfrm>
            <a:off x="1661021" y="1691638"/>
            <a:ext cx="8857176" cy="5166361"/>
          </a:xfrm>
          <a:prstGeom prst="rect">
            <a:avLst/>
          </a:prstGeom>
        </p:spPr>
      </p:pic>
    </p:spTree>
    <p:extLst>
      <p:ext uri="{BB962C8B-B14F-4D97-AF65-F5344CB8AC3E}">
        <p14:creationId xmlns:p14="http://schemas.microsoft.com/office/powerpoint/2010/main" val="21704508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9919C-FC7F-49AF-8F05-DEA3D4CD1B7B}"/>
              </a:ext>
            </a:extLst>
          </p:cNvPr>
          <p:cNvSpPr>
            <a:spLocks noGrp="1"/>
          </p:cNvSpPr>
          <p:nvPr>
            <p:ph type="title"/>
          </p:nvPr>
        </p:nvSpPr>
        <p:spPr>
          <a:xfrm>
            <a:off x="1653363" y="365760"/>
            <a:ext cx="9367203" cy="701894"/>
          </a:xfrm>
        </p:spPr>
        <p:txBody>
          <a:bodyPr>
            <a:normAutofit/>
          </a:bodyPr>
          <a:lstStyle/>
          <a:p>
            <a:r>
              <a:rPr lang="en-US" dirty="0"/>
              <a:t>Logistic Regression - Evaluation</a:t>
            </a:r>
          </a:p>
        </p:txBody>
      </p:sp>
      <p:sp>
        <p:nvSpPr>
          <p:cNvPr id="172" name="Freeform: Shape 110">
            <a:extLst>
              <a:ext uri="{FF2B5EF4-FFF2-40B4-BE49-F238E27FC236}">
                <a16:creationId xmlns:a16="http://schemas.microsoft.com/office/drawing/2014/main" id="{7CB4857B-ED7C-444D-9F04-2F885114A1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764099" cy="1558212"/>
          </a:xfrm>
          <a:custGeom>
            <a:avLst/>
            <a:gdLst>
              <a:gd name="connsiteX0" fmla="*/ 0 w 1764099"/>
              <a:gd name="connsiteY0" fmla="*/ 0 h 1558212"/>
              <a:gd name="connsiteX1" fmla="*/ 1764099 w 1764099"/>
              <a:gd name="connsiteY1" fmla="*/ 0 h 1558212"/>
              <a:gd name="connsiteX2" fmla="*/ 1042087 w 1764099"/>
              <a:gd name="connsiteY2" fmla="*/ 1558212 h 1558212"/>
              <a:gd name="connsiteX3" fmla="*/ 0 w 1764099"/>
              <a:gd name="connsiteY3" fmla="*/ 1558212 h 1558212"/>
            </a:gdLst>
            <a:ahLst/>
            <a:cxnLst>
              <a:cxn ang="0">
                <a:pos x="connsiteX0" y="connsiteY0"/>
              </a:cxn>
              <a:cxn ang="0">
                <a:pos x="connsiteX1" y="connsiteY1"/>
              </a:cxn>
              <a:cxn ang="0">
                <a:pos x="connsiteX2" y="connsiteY2"/>
              </a:cxn>
              <a:cxn ang="0">
                <a:pos x="connsiteX3" y="connsiteY3"/>
              </a:cxn>
            </a:cxnLst>
            <a:rect l="l" t="t" r="r" b="b"/>
            <a:pathLst>
              <a:path w="1764099" h="1558212">
                <a:moveTo>
                  <a:pt x="0" y="0"/>
                </a:moveTo>
                <a:lnTo>
                  <a:pt x="1764099" y="0"/>
                </a:lnTo>
                <a:lnTo>
                  <a:pt x="1042087" y="1558212"/>
                </a:lnTo>
                <a:lnTo>
                  <a:pt x="0" y="1558212"/>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3" name="Freeform: Shape 112">
            <a:extLst>
              <a:ext uri="{FF2B5EF4-FFF2-40B4-BE49-F238E27FC236}">
                <a16:creationId xmlns:a16="http://schemas.microsoft.com/office/drawing/2014/main" id="{D18046FB-44EA-4FD8-A585-EA09A319B2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691640"/>
            <a:ext cx="12191999" cy="5166360"/>
          </a:xfrm>
          <a:custGeom>
            <a:avLst/>
            <a:gdLst>
              <a:gd name="connsiteX0" fmla="*/ 0 w 12191999"/>
              <a:gd name="connsiteY0" fmla="*/ 0 h 5166360"/>
              <a:gd name="connsiteX1" fmla="*/ 1822388 w 12191999"/>
              <a:gd name="connsiteY1" fmla="*/ 0 h 5166360"/>
              <a:gd name="connsiteX2" fmla="*/ 6468290 w 12191999"/>
              <a:gd name="connsiteY2" fmla="*/ 0 h 5166360"/>
              <a:gd name="connsiteX3" fmla="*/ 7796394 w 12191999"/>
              <a:gd name="connsiteY3" fmla="*/ 0 h 5166360"/>
              <a:gd name="connsiteX4" fmla="*/ 8376834 w 12191999"/>
              <a:gd name="connsiteY4" fmla="*/ 0 h 5166360"/>
              <a:gd name="connsiteX5" fmla="*/ 9704938 w 12191999"/>
              <a:gd name="connsiteY5" fmla="*/ 0 h 5166360"/>
              <a:gd name="connsiteX6" fmla="*/ 9704938 w 12191999"/>
              <a:gd name="connsiteY6" fmla="*/ 2 h 5166360"/>
              <a:gd name="connsiteX7" fmla="*/ 10283456 w 12191999"/>
              <a:gd name="connsiteY7" fmla="*/ 2 h 5166360"/>
              <a:gd name="connsiteX8" fmla="*/ 10863897 w 12191999"/>
              <a:gd name="connsiteY8" fmla="*/ 2 h 5166360"/>
              <a:gd name="connsiteX9" fmla="*/ 12191999 w 12191999"/>
              <a:gd name="connsiteY9" fmla="*/ 2 h 5166360"/>
              <a:gd name="connsiteX10" fmla="*/ 12191999 w 12191999"/>
              <a:gd name="connsiteY10" fmla="*/ 5166360 h 5166360"/>
              <a:gd name="connsiteX11" fmla="*/ 0 w 12191999"/>
              <a:gd name="connsiteY11" fmla="*/ 5166360 h 5166360"/>
              <a:gd name="connsiteX12" fmla="*/ 0 w 12191999"/>
              <a:gd name="connsiteY12" fmla="*/ 2604436 h 5166360"/>
              <a:gd name="connsiteX13" fmla="*/ 862341 w 12191999"/>
              <a:gd name="connsiteY13" fmla="*/ 743371 h 5166360"/>
              <a:gd name="connsiteX14" fmla="*/ 0 w 12191999"/>
              <a:gd name="connsiteY14" fmla="*/ 743371 h 5166360"/>
              <a:gd name="connsiteX15" fmla="*/ 0 w 12191999"/>
              <a:gd name="connsiteY15" fmla="*/ 742508 h 5166360"/>
              <a:gd name="connsiteX16" fmla="*/ 92826 w 12191999"/>
              <a:gd name="connsiteY16" fmla="*/ 742508 h 5166360"/>
              <a:gd name="connsiteX17" fmla="*/ 406486 w 12191999"/>
              <a:gd name="connsiteY17" fmla="*/ 742508 h 5166360"/>
              <a:gd name="connsiteX18" fmla="*/ 406486 w 12191999"/>
              <a:gd name="connsiteY18" fmla="*/ 742507 h 5166360"/>
              <a:gd name="connsiteX19" fmla="*/ 862741 w 12191999"/>
              <a:gd name="connsiteY19" fmla="*/ 742507 h 5166360"/>
              <a:gd name="connsiteX20" fmla="*/ 1206388 w 12191999"/>
              <a:gd name="connsiteY20" fmla="*/ 864 h 5166360"/>
              <a:gd name="connsiteX21" fmla="*/ 748500 w 12191999"/>
              <a:gd name="connsiteY21" fmla="*/ 864 h 5166360"/>
              <a:gd name="connsiteX22" fmla="*/ 0 w 12191999"/>
              <a:gd name="connsiteY22" fmla="*/ 864 h 516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91999" h="5166360">
                <a:moveTo>
                  <a:pt x="0" y="0"/>
                </a:moveTo>
                <a:lnTo>
                  <a:pt x="1822388" y="0"/>
                </a:lnTo>
                <a:lnTo>
                  <a:pt x="6468290" y="0"/>
                </a:lnTo>
                <a:lnTo>
                  <a:pt x="7796394" y="0"/>
                </a:lnTo>
                <a:lnTo>
                  <a:pt x="8376834" y="0"/>
                </a:lnTo>
                <a:lnTo>
                  <a:pt x="9704938" y="0"/>
                </a:lnTo>
                <a:lnTo>
                  <a:pt x="9704938" y="2"/>
                </a:lnTo>
                <a:lnTo>
                  <a:pt x="10283456" y="2"/>
                </a:lnTo>
                <a:lnTo>
                  <a:pt x="10863897" y="2"/>
                </a:lnTo>
                <a:lnTo>
                  <a:pt x="12191999" y="2"/>
                </a:lnTo>
                <a:lnTo>
                  <a:pt x="12191999" y="5166360"/>
                </a:lnTo>
                <a:lnTo>
                  <a:pt x="0" y="5166360"/>
                </a:lnTo>
                <a:lnTo>
                  <a:pt x="0" y="2604436"/>
                </a:lnTo>
                <a:lnTo>
                  <a:pt x="862341" y="743371"/>
                </a:lnTo>
                <a:lnTo>
                  <a:pt x="0" y="743371"/>
                </a:lnTo>
                <a:lnTo>
                  <a:pt x="0" y="742508"/>
                </a:lnTo>
                <a:lnTo>
                  <a:pt x="92826" y="742508"/>
                </a:lnTo>
                <a:lnTo>
                  <a:pt x="406486" y="742508"/>
                </a:lnTo>
                <a:lnTo>
                  <a:pt x="406486" y="742507"/>
                </a:lnTo>
                <a:lnTo>
                  <a:pt x="862741" y="742507"/>
                </a:lnTo>
                <a:lnTo>
                  <a:pt x="1206388" y="864"/>
                </a:lnTo>
                <a:lnTo>
                  <a:pt x="748500" y="864"/>
                </a:lnTo>
                <a:lnTo>
                  <a:pt x="0" y="864"/>
                </a:lnTo>
                <a:close/>
              </a:path>
            </a:pathLst>
          </a:custGeom>
          <a:solidFill>
            <a:srgbClr val="A6A6A6">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4" name="Freeform: Shape 114">
            <a:extLst>
              <a:ext uri="{FF2B5EF4-FFF2-40B4-BE49-F238E27FC236}">
                <a16:creationId xmlns:a16="http://schemas.microsoft.com/office/drawing/2014/main" id="{479F5F2B-8B58-4140-AE6A-51F6C67B18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691641"/>
            <a:ext cx="971654" cy="2096979"/>
          </a:xfrm>
          <a:custGeom>
            <a:avLst/>
            <a:gdLst>
              <a:gd name="connsiteX0" fmla="*/ 0 w 971654"/>
              <a:gd name="connsiteY0" fmla="*/ 0 h 2096979"/>
              <a:gd name="connsiteX1" fmla="*/ 971654 w 971654"/>
              <a:gd name="connsiteY1" fmla="*/ 0 h 2096979"/>
              <a:gd name="connsiteX2" fmla="*/ 0 w 971654"/>
              <a:gd name="connsiteY2" fmla="*/ 2096979 h 2096979"/>
            </a:gdLst>
            <a:ahLst/>
            <a:cxnLst>
              <a:cxn ang="0">
                <a:pos x="connsiteX0" y="connsiteY0"/>
              </a:cxn>
              <a:cxn ang="0">
                <a:pos x="connsiteX1" y="connsiteY1"/>
              </a:cxn>
              <a:cxn ang="0">
                <a:pos x="connsiteX2" y="connsiteY2"/>
              </a:cxn>
            </a:cxnLst>
            <a:rect l="l" t="t" r="r" b="b"/>
            <a:pathLst>
              <a:path w="971654" h="2096979">
                <a:moveTo>
                  <a:pt x="0" y="0"/>
                </a:moveTo>
                <a:lnTo>
                  <a:pt x="971654" y="0"/>
                </a:lnTo>
                <a:lnTo>
                  <a:pt x="0" y="2096979"/>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9218" name="Picture 2">
            <a:extLst>
              <a:ext uri="{FF2B5EF4-FFF2-40B4-BE49-F238E27FC236}">
                <a16:creationId xmlns:a16="http://schemas.microsoft.com/office/drawing/2014/main" id="{A23C9350-7F13-4689-B84D-AADFF15C6F3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64100" y="1919288"/>
            <a:ext cx="8122850" cy="3019425"/>
          </a:xfrm>
          <a:prstGeom prst="rect">
            <a:avLst/>
          </a:prstGeom>
          <a:noFill/>
          <a:extLst>
            <a:ext uri="{909E8E84-426E-40DD-AFC4-6F175D3DCCD1}">
              <a14:hiddenFill xmlns:a14="http://schemas.microsoft.com/office/drawing/2010/main">
                <a:solidFill>
                  <a:srgbClr val="FFFFFF"/>
                </a:solidFill>
              </a14:hiddenFill>
            </a:ext>
          </a:extLst>
        </p:spPr>
      </p:pic>
      <p:sp>
        <p:nvSpPr>
          <p:cNvPr id="8" name="Content Placeholder 2">
            <a:extLst>
              <a:ext uri="{FF2B5EF4-FFF2-40B4-BE49-F238E27FC236}">
                <a16:creationId xmlns:a16="http://schemas.microsoft.com/office/drawing/2014/main" id="{6E251EA1-66BA-4B83-85E8-480A37E79961}"/>
              </a:ext>
            </a:extLst>
          </p:cNvPr>
          <p:cNvSpPr>
            <a:spLocks noGrp="1"/>
          </p:cNvSpPr>
          <p:nvPr>
            <p:ph idx="1"/>
          </p:nvPr>
        </p:nvSpPr>
        <p:spPr>
          <a:xfrm>
            <a:off x="1764099" y="5072140"/>
            <a:ext cx="9152717" cy="1145779"/>
          </a:xfrm>
        </p:spPr>
        <p:txBody>
          <a:bodyPr anchor="t">
            <a:normAutofit fontScale="92500" lnSpcReduction="10000"/>
          </a:bodyPr>
          <a:lstStyle/>
          <a:p>
            <a:pPr>
              <a:buFont typeface="Wingdings" panose="05000000000000000000" pitchFamily="2" charset="2"/>
              <a:buChar char="Ø"/>
            </a:pPr>
            <a:r>
              <a:rPr lang="en-US" sz="1700" dirty="0"/>
              <a:t>we've created a logistic regression and learned the computations happening at the back-end of a Logistic Regression. </a:t>
            </a:r>
          </a:p>
          <a:p>
            <a:pPr>
              <a:buFont typeface="Wingdings" panose="05000000000000000000" pitchFamily="2" charset="2"/>
              <a:buChar char="Ø"/>
            </a:pPr>
            <a:r>
              <a:rPr lang="en-US" sz="1700" dirty="0"/>
              <a:t>We transformed these equations and mathematical functions into python codes. </a:t>
            </a:r>
          </a:p>
          <a:p>
            <a:pPr>
              <a:buFont typeface="Wingdings" panose="05000000000000000000" pitchFamily="2" charset="2"/>
              <a:buChar char="Ø"/>
            </a:pPr>
            <a:r>
              <a:rPr lang="en-US" sz="1700" dirty="0"/>
              <a:t>We trained our logistic regression function as well</a:t>
            </a:r>
          </a:p>
        </p:txBody>
      </p:sp>
    </p:spTree>
    <p:extLst>
      <p:ext uri="{BB962C8B-B14F-4D97-AF65-F5344CB8AC3E}">
        <p14:creationId xmlns:p14="http://schemas.microsoft.com/office/powerpoint/2010/main" val="41086060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9919C-FC7F-49AF-8F05-DEA3D4CD1B7B}"/>
              </a:ext>
            </a:extLst>
          </p:cNvPr>
          <p:cNvSpPr>
            <a:spLocks noGrp="1"/>
          </p:cNvSpPr>
          <p:nvPr>
            <p:ph type="title"/>
          </p:nvPr>
        </p:nvSpPr>
        <p:spPr>
          <a:xfrm>
            <a:off x="1653363" y="365760"/>
            <a:ext cx="9367203" cy="1188720"/>
          </a:xfrm>
        </p:spPr>
        <p:txBody>
          <a:bodyPr>
            <a:normAutofit/>
          </a:bodyPr>
          <a:lstStyle/>
          <a:p>
            <a:r>
              <a:rPr lang="en-US"/>
              <a:t>Dataset &amp; Variables</a:t>
            </a:r>
          </a:p>
        </p:txBody>
      </p:sp>
      <p:sp>
        <p:nvSpPr>
          <p:cNvPr id="172" name="Freeform: Shape 110">
            <a:extLst>
              <a:ext uri="{FF2B5EF4-FFF2-40B4-BE49-F238E27FC236}">
                <a16:creationId xmlns:a16="http://schemas.microsoft.com/office/drawing/2014/main" id="{7CB4857B-ED7C-444D-9F04-2F885114A1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764099" cy="1558212"/>
          </a:xfrm>
          <a:custGeom>
            <a:avLst/>
            <a:gdLst>
              <a:gd name="connsiteX0" fmla="*/ 0 w 1764099"/>
              <a:gd name="connsiteY0" fmla="*/ 0 h 1558212"/>
              <a:gd name="connsiteX1" fmla="*/ 1764099 w 1764099"/>
              <a:gd name="connsiteY1" fmla="*/ 0 h 1558212"/>
              <a:gd name="connsiteX2" fmla="*/ 1042087 w 1764099"/>
              <a:gd name="connsiteY2" fmla="*/ 1558212 h 1558212"/>
              <a:gd name="connsiteX3" fmla="*/ 0 w 1764099"/>
              <a:gd name="connsiteY3" fmla="*/ 1558212 h 1558212"/>
            </a:gdLst>
            <a:ahLst/>
            <a:cxnLst>
              <a:cxn ang="0">
                <a:pos x="connsiteX0" y="connsiteY0"/>
              </a:cxn>
              <a:cxn ang="0">
                <a:pos x="connsiteX1" y="connsiteY1"/>
              </a:cxn>
              <a:cxn ang="0">
                <a:pos x="connsiteX2" y="connsiteY2"/>
              </a:cxn>
              <a:cxn ang="0">
                <a:pos x="connsiteX3" y="connsiteY3"/>
              </a:cxn>
            </a:cxnLst>
            <a:rect l="l" t="t" r="r" b="b"/>
            <a:pathLst>
              <a:path w="1764099" h="1558212">
                <a:moveTo>
                  <a:pt x="0" y="0"/>
                </a:moveTo>
                <a:lnTo>
                  <a:pt x="1764099" y="0"/>
                </a:lnTo>
                <a:lnTo>
                  <a:pt x="1042087" y="1558212"/>
                </a:lnTo>
                <a:lnTo>
                  <a:pt x="0" y="1558212"/>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3" name="Freeform: Shape 112">
            <a:extLst>
              <a:ext uri="{FF2B5EF4-FFF2-40B4-BE49-F238E27FC236}">
                <a16:creationId xmlns:a16="http://schemas.microsoft.com/office/drawing/2014/main" id="{D18046FB-44EA-4FD8-A585-EA09A319B2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691640"/>
            <a:ext cx="12191999" cy="5166360"/>
          </a:xfrm>
          <a:custGeom>
            <a:avLst/>
            <a:gdLst>
              <a:gd name="connsiteX0" fmla="*/ 0 w 12191999"/>
              <a:gd name="connsiteY0" fmla="*/ 0 h 5166360"/>
              <a:gd name="connsiteX1" fmla="*/ 1822388 w 12191999"/>
              <a:gd name="connsiteY1" fmla="*/ 0 h 5166360"/>
              <a:gd name="connsiteX2" fmla="*/ 6468290 w 12191999"/>
              <a:gd name="connsiteY2" fmla="*/ 0 h 5166360"/>
              <a:gd name="connsiteX3" fmla="*/ 7796394 w 12191999"/>
              <a:gd name="connsiteY3" fmla="*/ 0 h 5166360"/>
              <a:gd name="connsiteX4" fmla="*/ 8376834 w 12191999"/>
              <a:gd name="connsiteY4" fmla="*/ 0 h 5166360"/>
              <a:gd name="connsiteX5" fmla="*/ 9704938 w 12191999"/>
              <a:gd name="connsiteY5" fmla="*/ 0 h 5166360"/>
              <a:gd name="connsiteX6" fmla="*/ 9704938 w 12191999"/>
              <a:gd name="connsiteY6" fmla="*/ 2 h 5166360"/>
              <a:gd name="connsiteX7" fmla="*/ 10283456 w 12191999"/>
              <a:gd name="connsiteY7" fmla="*/ 2 h 5166360"/>
              <a:gd name="connsiteX8" fmla="*/ 10863897 w 12191999"/>
              <a:gd name="connsiteY8" fmla="*/ 2 h 5166360"/>
              <a:gd name="connsiteX9" fmla="*/ 12191999 w 12191999"/>
              <a:gd name="connsiteY9" fmla="*/ 2 h 5166360"/>
              <a:gd name="connsiteX10" fmla="*/ 12191999 w 12191999"/>
              <a:gd name="connsiteY10" fmla="*/ 5166360 h 5166360"/>
              <a:gd name="connsiteX11" fmla="*/ 0 w 12191999"/>
              <a:gd name="connsiteY11" fmla="*/ 5166360 h 5166360"/>
              <a:gd name="connsiteX12" fmla="*/ 0 w 12191999"/>
              <a:gd name="connsiteY12" fmla="*/ 2604436 h 5166360"/>
              <a:gd name="connsiteX13" fmla="*/ 862341 w 12191999"/>
              <a:gd name="connsiteY13" fmla="*/ 743371 h 5166360"/>
              <a:gd name="connsiteX14" fmla="*/ 0 w 12191999"/>
              <a:gd name="connsiteY14" fmla="*/ 743371 h 5166360"/>
              <a:gd name="connsiteX15" fmla="*/ 0 w 12191999"/>
              <a:gd name="connsiteY15" fmla="*/ 742508 h 5166360"/>
              <a:gd name="connsiteX16" fmla="*/ 92826 w 12191999"/>
              <a:gd name="connsiteY16" fmla="*/ 742508 h 5166360"/>
              <a:gd name="connsiteX17" fmla="*/ 406486 w 12191999"/>
              <a:gd name="connsiteY17" fmla="*/ 742508 h 5166360"/>
              <a:gd name="connsiteX18" fmla="*/ 406486 w 12191999"/>
              <a:gd name="connsiteY18" fmla="*/ 742507 h 5166360"/>
              <a:gd name="connsiteX19" fmla="*/ 862741 w 12191999"/>
              <a:gd name="connsiteY19" fmla="*/ 742507 h 5166360"/>
              <a:gd name="connsiteX20" fmla="*/ 1206388 w 12191999"/>
              <a:gd name="connsiteY20" fmla="*/ 864 h 5166360"/>
              <a:gd name="connsiteX21" fmla="*/ 748500 w 12191999"/>
              <a:gd name="connsiteY21" fmla="*/ 864 h 5166360"/>
              <a:gd name="connsiteX22" fmla="*/ 0 w 12191999"/>
              <a:gd name="connsiteY22" fmla="*/ 864 h 516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91999" h="5166360">
                <a:moveTo>
                  <a:pt x="0" y="0"/>
                </a:moveTo>
                <a:lnTo>
                  <a:pt x="1822388" y="0"/>
                </a:lnTo>
                <a:lnTo>
                  <a:pt x="6468290" y="0"/>
                </a:lnTo>
                <a:lnTo>
                  <a:pt x="7796394" y="0"/>
                </a:lnTo>
                <a:lnTo>
                  <a:pt x="8376834" y="0"/>
                </a:lnTo>
                <a:lnTo>
                  <a:pt x="9704938" y="0"/>
                </a:lnTo>
                <a:lnTo>
                  <a:pt x="9704938" y="2"/>
                </a:lnTo>
                <a:lnTo>
                  <a:pt x="10283456" y="2"/>
                </a:lnTo>
                <a:lnTo>
                  <a:pt x="10863897" y="2"/>
                </a:lnTo>
                <a:lnTo>
                  <a:pt x="12191999" y="2"/>
                </a:lnTo>
                <a:lnTo>
                  <a:pt x="12191999" y="5166360"/>
                </a:lnTo>
                <a:lnTo>
                  <a:pt x="0" y="5166360"/>
                </a:lnTo>
                <a:lnTo>
                  <a:pt x="0" y="2604436"/>
                </a:lnTo>
                <a:lnTo>
                  <a:pt x="862341" y="743371"/>
                </a:lnTo>
                <a:lnTo>
                  <a:pt x="0" y="743371"/>
                </a:lnTo>
                <a:lnTo>
                  <a:pt x="0" y="742508"/>
                </a:lnTo>
                <a:lnTo>
                  <a:pt x="92826" y="742508"/>
                </a:lnTo>
                <a:lnTo>
                  <a:pt x="406486" y="742508"/>
                </a:lnTo>
                <a:lnTo>
                  <a:pt x="406486" y="742507"/>
                </a:lnTo>
                <a:lnTo>
                  <a:pt x="862741" y="742507"/>
                </a:lnTo>
                <a:lnTo>
                  <a:pt x="1206388" y="864"/>
                </a:lnTo>
                <a:lnTo>
                  <a:pt x="748500" y="864"/>
                </a:lnTo>
                <a:lnTo>
                  <a:pt x="0" y="864"/>
                </a:lnTo>
                <a:close/>
              </a:path>
            </a:pathLst>
          </a:custGeom>
          <a:solidFill>
            <a:srgbClr val="A6A6A6">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4" name="Freeform: Shape 114">
            <a:extLst>
              <a:ext uri="{FF2B5EF4-FFF2-40B4-BE49-F238E27FC236}">
                <a16:creationId xmlns:a16="http://schemas.microsoft.com/office/drawing/2014/main" id="{479F5F2B-8B58-4140-AE6A-51F6C67B18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691641"/>
            <a:ext cx="971654" cy="2096979"/>
          </a:xfrm>
          <a:custGeom>
            <a:avLst/>
            <a:gdLst>
              <a:gd name="connsiteX0" fmla="*/ 0 w 971654"/>
              <a:gd name="connsiteY0" fmla="*/ 0 h 2096979"/>
              <a:gd name="connsiteX1" fmla="*/ 971654 w 971654"/>
              <a:gd name="connsiteY1" fmla="*/ 0 h 2096979"/>
              <a:gd name="connsiteX2" fmla="*/ 0 w 971654"/>
              <a:gd name="connsiteY2" fmla="*/ 2096979 h 2096979"/>
            </a:gdLst>
            <a:ahLst/>
            <a:cxnLst>
              <a:cxn ang="0">
                <a:pos x="connsiteX0" y="connsiteY0"/>
              </a:cxn>
              <a:cxn ang="0">
                <a:pos x="connsiteX1" y="connsiteY1"/>
              </a:cxn>
              <a:cxn ang="0">
                <a:pos x="connsiteX2" y="connsiteY2"/>
              </a:cxn>
            </a:cxnLst>
            <a:rect l="l" t="t" r="r" b="b"/>
            <a:pathLst>
              <a:path w="971654" h="2096979">
                <a:moveTo>
                  <a:pt x="0" y="0"/>
                </a:moveTo>
                <a:lnTo>
                  <a:pt x="971654" y="0"/>
                </a:lnTo>
                <a:lnTo>
                  <a:pt x="0" y="2096979"/>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Content Placeholder 2">
            <a:extLst>
              <a:ext uri="{FF2B5EF4-FFF2-40B4-BE49-F238E27FC236}">
                <a16:creationId xmlns:a16="http://schemas.microsoft.com/office/drawing/2014/main" id="{AF940B87-3F1A-4111-BFEE-AB76302CAD41}"/>
              </a:ext>
            </a:extLst>
          </p:cNvPr>
          <p:cNvSpPr>
            <a:spLocks noGrp="1"/>
          </p:cNvSpPr>
          <p:nvPr>
            <p:ph idx="1"/>
          </p:nvPr>
        </p:nvSpPr>
        <p:spPr>
          <a:xfrm>
            <a:off x="1653363" y="2176272"/>
            <a:ext cx="9367204" cy="4041648"/>
          </a:xfrm>
        </p:spPr>
        <p:txBody>
          <a:bodyPr anchor="t">
            <a:normAutofit/>
          </a:bodyPr>
          <a:lstStyle/>
          <a:p>
            <a:pPr marL="0" indent="0">
              <a:buNone/>
            </a:pPr>
            <a:r>
              <a:rPr lang="en-US" sz="1700" dirty="0"/>
              <a:t>Churn is a one of the biggest challenge in the telecom industry. We are going to analyze the data of company and find insights and stop customers from churning out to other telecom companies </a:t>
            </a:r>
          </a:p>
          <a:p>
            <a:pPr marL="0" indent="0">
              <a:buNone/>
            </a:pPr>
            <a:r>
              <a:rPr lang="en-US" sz="1700" dirty="0"/>
              <a:t>We have 21 different variables in our dataset but below variables are primary used to find the impact on churn</a:t>
            </a:r>
          </a:p>
          <a:p>
            <a:pPr lvl="1">
              <a:buFont typeface="Wingdings" panose="05000000000000000000" pitchFamily="2" charset="2"/>
              <a:buChar char="Ø"/>
            </a:pPr>
            <a:r>
              <a:rPr lang="en-US" sz="1700" dirty="0"/>
              <a:t>Churn </a:t>
            </a:r>
          </a:p>
          <a:p>
            <a:pPr lvl="1">
              <a:buFont typeface="Wingdings" panose="05000000000000000000" pitchFamily="2" charset="2"/>
              <a:buChar char="Ø"/>
            </a:pPr>
            <a:r>
              <a:rPr lang="en-US" sz="1700" dirty="0"/>
              <a:t>Monthly Charges</a:t>
            </a:r>
          </a:p>
          <a:p>
            <a:pPr lvl="1">
              <a:buFont typeface="Wingdings" panose="05000000000000000000" pitchFamily="2" charset="2"/>
              <a:buChar char="Ø"/>
            </a:pPr>
            <a:r>
              <a:rPr lang="en-US" sz="1700" dirty="0"/>
              <a:t>Total Charges</a:t>
            </a:r>
          </a:p>
          <a:p>
            <a:pPr lvl="1">
              <a:buFont typeface="Wingdings" panose="05000000000000000000" pitchFamily="2" charset="2"/>
              <a:buChar char="Ø"/>
            </a:pPr>
            <a:r>
              <a:rPr lang="en-US" sz="1700" dirty="0"/>
              <a:t>Tenure</a:t>
            </a:r>
          </a:p>
          <a:p>
            <a:pPr lvl="1">
              <a:buFont typeface="Wingdings" panose="05000000000000000000" pitchFamily="2" charset="2"/>
              <a:buChar char="Ø"/>
            </a:pPr>
            <a:r>
              <a:rPr lang="en-US" sz="1700" dirty="0"/>
              <a:t>Gender</a:t>
            </a:r>
          </a:p>
          <a:p>
            <a:pPr lvl="1">
              <a:buFont typeface="Wingdings" panose="05000000000000000000" pitchFamily="2" charset="2"/>
              <a:buChar char="Ø"/>
            </a:pPr>
            <a:r>
              <a:rPr lang="en-US" sz="1700" dirty="0"/>
              <a:t>Senior Citizen</a:t>
            </a:r>
          </a:p>
          <a:p>
            <a:pPr marL="0" indent="0">
              <a:buNone/>
            </a:pPr>
            <a:endParaRPr lang="en-US" sz="1700" dirty="0"/>
          </a:p>
          <a:p>
            <a:pPr algn="l"/>
            <a:r>
              <a:rPr lang="en-US" sz="1200" b="0" i="0" dirty="0">
                <a:effectLst/>
                <a:latin typeface="Segoe UI" panose="020B0502040204020203" pitchFamily="34" charset="0"/>
              </a:rPr>
              <a:t>Data set I will be using from Kaggle</a:t>
            </a:r>
            <a:r>
              <a:rPr lang="en-US" sz="1200" dirty="0">
                <a:latin typeface="Segoe UI" panose="020B0502040204020203" pitchFamily="34" charset="0"/>
              </a:rPr>
              <a:t>(</a:t>
            </a:r>
            <a:r>
              <a:rPr lang="en-US" sz="1200" dirty="0">
                <a:solidFill>
                  <a:schemeClr val="accent1"/>
                </a:solidFill>
                <a:latin typeface="Segoe UI" panose="020B0502040204020203" pitchFamily="34" charset="0"/>
                <a:hlinkClick r:id="rId2" tooltip="https://www.kaggle.com/palashfendarkar/wa-fnusec-telcocustomerchurn">
                  <a:extLst>
                    <a:ext uri="{A12FA001-AC4F-418D-AE19-62706E023703}">
                      <ahyp:hlinkClr xmlns:ahyp="http://schemas.microsoft.com/office/drawing/2018/hyperlinkcolor" val="tx"/>
                    </a:ext>
                  </a:extLst>
                </a:hlinkClick>
              </a:rPr>
              <a:t>https://www.kaggle.com/palashfendarkar/wa-fnusec-telcocustomerchurn</a:t>
            </a:r>
            <a:r>
              <a:rPr lang="en-US" sz="1200" dirty="0">
                <a:latin typeface="Segoe UI" panose="020B0502040204020203" pitchFamily="34" charset="0"/>
              </a:rPr>
              <a:t>)</a:t>
            </a:r>
            <a:br>
              <a:rPr lang="en-US" sz="1200" dirty="0">
                <a:latin typeface="Segoe UI" panose="020B0502040204020203" pitchFamily="34" charset="0"/>
              </a:rPr>
            </a:br>
            <a:endParaRPr lang="en-US" sz="1200" dirty="0">
              <a:latin typeface="Segoe UI" panose="020B0502040204020203" pitchFamily="34" charset="0"/>
            </a:endParaRPr>
          </a:p>
        </p:txBody>
      </p:sp>
    </p:spTree>
    <p:extLst>
      <p:ext uri="{BB962C8B-B14F-4D97-AF65-F5344CB8AC3E}">
        <p14:creationId xmlns:p14="http://schemas.microsoft.com/office/powerpoint/2010/main" val="9943470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9919C-FC7F-49AF-8F05-DEA3D4CD1B7B}"/>
              </a:ext>
            </a:extLst>
          </p:cNvPr>
          <p:cNvSpPr>
            <a:spLocks noGrp="1"/>
          </p:cNvSpPr>
          <p:nvPr>
            <p:ph type="title"/>
          </p:nvPr>
        </p:nvSpPr>
        <p:spPr>
          <a:xfrm>
            <a:off x="1653363" y="365760"/>
            <a:ext cx="9367203" cy="1188720"/>
          </a:xfrm>
        </p:spPr>
        <p:txBody>
          <a:bodyPr>
            <a:normAutofit/>
          </a:bodyPr>
          <a:lstStyle/>
          <a:p>
            <a:r>
              <a:rPr lang="en-US" kern="1200" dirty="0">
                <a:solidFill>
                  <a:schemeClr val="tx1"/>
                </a:solidFill>
                <a:latin typeface="+mj-lt"/>
                <a:ea typeface="+mj-ea"/>
                <a:cs typeface="+mj-cs"/>
              </a:rPr>
              <a:t>Dataset &amp; Variables- Visualization</a:t>
            </a:r>
            <a:endParaRPr lang="en-US" dirty="0"/>
          </a:p>
        </p:txBody>
      </p:sp>
      <p:sp>
        <p:nvSpPr>
          <p:cNvPr id="172" name="Freeform: Shape 110">
            <a:extLst>
              <a:ext uri="{FF2B5EF4-FFF2-40B4-BE49-F238E27FC236}">
                <a16:creationId xmlns:a16="http://schemas.microsoft.com/office/drawing/2014/main" id="{7CB4857B-ED7C-444D-9F04-2F885114A1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764099" cy="1558212"/>
          </a:xfrm>
          <a:custGeom>
            <a:avLst/>
            <a:gdLst>
              <a:gd name="connsiteX0" fmla="*/ 0 w 1764099"/>
              <a:gd name="connsiteY0" fmla="*/ 0 h 1558212"/>
              <a:gd name="connsiteX1" fmla="*/ 1764099 w 1764099"/>
              <a:gd name="connsiteY1" fmla="*/ 0 h 1558212"/>
              <a:gd name="connsiteX2" fmla="*/ 1042087 w 1764099"/>
              <a:gd name="connsiteY2" fmla="*/ 1558212 h 1558212"/>
              <a:gd name="connsiteX3" fmla="*/ 0 w 1764099"/>
              <a:gd name="connsiteY3" fmla="*/ 1558212 h 1558212"/>
            </a:gdLst>
            <a:ahLst/>
            <a:cxnLst>
              <a:cxn ang="0">
                <a:pos x="connsiteX0" y="connsiteY0"/>
              </a:cxn>
              <a:cxn ang="0">
                <a:pos x="connsiteX1" y="connsiteY1"/>
              </a:cxn>
              <a:cxn ang="0">
                <a:pos x="connsiteX2" y="connsiteY2"/>
              </a:cxn>
              <a:cxn ang="0">
                <a:pos x="connsiteX3" y="connsiteY3"/>
              </a:cxn>
            </a:cxnLst>
            <a:rect l="l" t="t" r="r" b="b"/>
            <a:pathLst>
              <a:path w="1764099" h="1558212">
                <a:moveTo>
                  <a:pt x="0" y="0"/>
                </a:moveTo>
                <a:lnTo>
                  <a:pt x="1764099" y="0"/>
                </a:lnTo>
                <a:lnTo>
                  <a:pt x="1042087" y="1558212"/>
                </a:lnTo>
                <a:lnTo>
                  <a:pt x="0" y="1558212"/>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3" name="Freeform: Shape 112">
            <a:extLst>
              <a:ext uri="{FF2B5EF4-FFF2-40B4-BE49-F238E27FC236}">
                <a16:creationId xmlns:a16="http://schemas.microsoft.com/office/drawing/2014/main" id="{D18046FB-44EA-4FD8-A585-EA09A319B2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691640"/>
            <a:ext cx="12191999" cy="5166360"/>
          </a:xfrm>
          <a:custGeom>
            <a:avLst/>
            <a:gdLst>
              <a:gd name="connsiteX0" fmla="*/ 0 w 12191999"/>
              <a:gd name="connsiteY0" fmla="*/ 0 h 5166360"/>
              <a:gd name="connsiteX1" fmla="*/ 1822388 w 12191999"/>
              <a:gd name="connsiteY1" fmla="*/ 0 h 5166360"/>
              <a:gd name="connsiteX2" fmla="*/ 6468290 w 12191999"/>
              <a:gd name="connsiteY2" fmla="*/ 0 h 5166360"/>
              <a:gd name="connsiteX3" fmla="*/ 7796394 w 12191999"/>
              <a:gd name="connsiteY3" fmla="*/ 0 h 5166360"/>
              <a:gd name="connsiteX4" fmla="*/ 8376834 w 12191999"/>
              <a:gd name="connsiteY4" fmla="*/ 0 h 5166360"/>
              <a:gd name="connsiteX5" fmla="*/ 9704938 w 12191999"/>
              <a:gd name="connsiteY5" fmla="*/ 0 h 5166360"/>
              <a:gd name="connsiteX6" fmla="*/ 9704938 w 12191999"/>
              <a:gd name="connsiteY6" fmla="*/ 2 h 5166360"/>
              <a:gd name="connsiteX7" fmla="*/ 10283456 w 12191999"/>
              <a:gd name="connsiteY7" fmla="*/ 2 h 5166360"/>
              <a:gd name="connsiteX8" fmla="*/ 10863897 w 12191999"/>
              <a:gd name="connsiteY8" fmla="*/ 2 h 5166360"/>
              <a:gd name="connsiteX9" fmla="*/ 12191999 w 12191999"/>
              <a:gd name="connsiteY9" fmla="*/ 2 h 5166360"/>
              <a:gd name="connsiteX10" fmla="*/ 12191999 w 12191999"/>
              <a:gd name="connsiteY10" fmla="*/ 5166360 h 5166360"/>
              <a:gd name="connsiteX11" fmla="*/ 0 w 12191999"/>
              <a:gd name="connsiteY11" fmla="*/ 5166360 h 5166360"/>
              <a:gd name="connsiteX12" fmla="*/ 0 w 12191999"/>
              <a:gd name="connsiteY12" fmla="*/ 2604436 h 5166360"/>
              <a:gd name="connsiteX13" fmla="*/ 862341 w 12191999"/>
              <a:gd name="connsiteY13" fmla="*/ 743371 h 5166360"/>
              <a:gd name="connsiteX14" fmla="*/ 0 w 12191999"/>
              <a:gd name="connsiteY14" fmla="*/ 743371 h 5166360"/>
              <a:gd name="connsiteX15" fmla="*/ 0 w 12191999"/>
              <a:gd name="connsiteY15" fmla="*/ 742508 h 5166360"/>
              <a:gd name="connsiteX16" fmla="*/ 92826 w 12191999"/>
              <a:gd name="connsiteY16" fmla="*/ 742508 h 5166360"/>
              <a:gd name="connsiteX17" fmla="*/ 406486 w 12191999"/>
              <a:gd name="connsiteY17" fmla="*/ 742508 h 5166360"/>
              <a:gd name="connsiteX18" fmla="*/ 406486 w 12191999"/>
              <a:gd name="connsiteY18" fmla="*/ 742507 h 5166360"/>
              <a:gd name="connsiteX19" fmla="*/ 862741 w 12191999"/>
              <a:gd name="connsiteY19" fmla="*/ 742507 h 5166360"/>
              <a:gd name="connsiteX20" fmla="*/ 1206388 w 12191999"/>
              <a:gd name="connsiteY20" fmla="*/ 864 h 5166360"/>
              <a:gd name="connsiteX21" fmla="*/ 748500 w 12191999"/>
              <a:gd name="connsiteY21" fmla="*/ 864 h 5166360"/>
              <a:gd name="connsiteX22" fmla="*/ 0 w 12191999"/>
              <a:gd name="connsiteY22" fmla="*/ 864 h 516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91999" h="5166360">
                <a:moveTo>
                  <a:pt x="0" y="0"/>
                </a:moveTo>
                <a:lnTo>
                  <a:pt x="1822388" y="0"/>
                </a:lnTo>
                <a:lnTo>
                  <a:pt x="6468290" y="0"/>
                </a:lnTo>
                <a:lnTo>
                  <a:pt x="7796394" y="0"/>
                </a:lnTo>
                <a:lnTo>
                  <a:pt x="8376834" y="0"/>
                </a:lnTo>
                <a:lnTo>
                  <a:pt x="9704938" y="0"/>
                </a:lnTo>
                <a:lnTo>
                  <a:pt x="9704938" y="2"/>
                </a:lnTo>
                <a:lnTo>
                  <a:pt x="10283456" y="2"/>
                </a:lnTo>
                <a:lnTo>
                  <a:pt x="10863897" y="2"/>
                </a:lnTo>
                <a:lnTo>
                  <a:pt x="12191999" y="2"/>
                </a:lnTo>
                <a:lnTo>
                  <a:pt x="12191999" y="5166360"/>
                </a:lnTo>
                <a:lnTo>
                  <a:pt x="0" y="5166360"/>
                </a:lnTo>
                <a:lnTo>
                  <a:pt x="0" y="2604436"/>
                </a:lnTo>
                <a:lnTo>
                  <a:pt x="862341" y="743371"/>
                </a:lnTo>
                <a:lnTo>
                  <a:pt x="0" y="743371"/>
                </a:lnTo>
                <a:lnTo>
                  <a:pt x="0" y="742508"/>
                </a:lnTo>
                <a:lnTo>
                  <a:pt x="92826" y="742508"/>
                </a:lnTo>
                <a:lnTo>
                  <a:pt x="406486" y="742508"/>
                </a:lnTo>
                <a:lnTo>
                  <a:pt x="406486" y="742507"/>
                </a:lnTo>
                <a:lnTo>
                  <a:pt x="862741" y="742507"/>
                </a:lnTo>
                <a:lnTo>
                  <a:pt x="1206388" y="864"/>
                </a:lnTo>
                <a:lnTo>
                  <a:pt x="748500" y="864"/>
                </a:lnTo>
                <a:lnTo>
                  <a:pt x="0" y="864"/>
                </a:lnTo>
                <a:close/>
              </a:path>
            </a:pathLst>
          </a:custGeom>
          <a:solidFill>
            <a:srgbClr val="A6A6A6">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4" name="Freeform: Shape 114">
            <a:extLst>
              <a:ext uri="{FF2B5EF4-FFF2-40B4-BE49-F238E27FC236}">
                <a16:creationId xmlns:a16="http://schemas.microsoft.com/office/drawing/2014/main" id="{479F5F2B-8B58-4140-AE6A-51F6C67B18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691641"/>
            <a:ext cx="971654" cy="2096979"/>
          </a:xfrm>
          <a:custGeom>
            <a:avLst/>
            <a:gdLst>
              <a:gd name="connsiteX0" fmla="*/ 0 w 971654"/>
              <a:gd name="connsiteY0" fmla="*/ 0 h 2096979"/>
              <a:gd name="connsiteX1" fmla="*/ 971654 w 971654"/>
              <a:gd name="connsiteY1" fmla="*/ 0 h 2096979"/>
              <a:gd name="connsiteX2" fmla="*/ 0 w 971654"/>
              <a:gd name="connsiteY2" fmla="*/ 2096979 h 2096979"/>
            </a:gdLst>
            <a:ahLst/>
            <a:cxnLst>
              <a:cxn ang="0">
                <a:pos x="connsiteX0" y="connsiteY0"/>
              </a:cxn>
              <a:cxn ang="0">
                <a:pos x="connsiteX1" y="connsiteY1"/>
              </a:cxn>
              <a:cxn ang="0">
                <a:pos x="connsiteX2" y="connsiteY2"/>
              </a:cxn>
            </a:cxnLst>
            <a:rect l="l" t="t" r="r" b="b"/>
            <a:pathLst>
              <a:path w="971654" h="2096979">
                <a:moveTo>
                  <a:pt x="0" y="0"/>
                </a:moveTo>
                <a:lnTo>
                  <a:pt x="971654" y="0"/>
                </a:lnTo>
                <a:lnTo>
                  <a:pt x="0" y="2096979"/>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Content Placeholder 2">
            <a:extLst>
              <a:ext uri="{FF2B5EF4-FFF2-40B4-BE49-F238E27FC236}">
                <a16:creationId xmlns:a16="http://schemas.microsoft.com/office/drawing/2014/main" id="{AF940B87-3F1A-4111-BFEE-AB76302CAD41}"/>
              </a:ext>
            </a:extLst>
          </p:cNvPr>
          <p:cNvSpPr>
            <a:spLocks noGrp="1"/>
          </p:cNvSpPr>
          <p:nvPr>
            <p:ph idx="1"/>
          </p:nvPr>
        </p:nvSpPr>
        <p:spPr>
          <a:xfrm>
            <a:off x="1653363" y="2176272"/>
            <a:ext cx="9367204" cy="4041648"/>
          </a:xfrm>
        </p:spPr>
        <p:txBody>
          <a:bodyPr anchor="t">
            <a:normAutofit lnSpcReduction="10000"/>
          </a:bodyPr>
          <a:lstStyle/>
          <a:p>
            <a:pPr>
              <a:lnSpc>
                <a:spcPct val="150000"/>
              </a:lnSpc>
              <a:buFont typeface="Wingdings" panose="05000000000000000000" pitchFamily="2" charset="2"/>
              <a:buChar char="Ø"/>
            </a:pPr>
            <a:r>
              <a:rPr lang="en-US" sz="1700" dirty="0"/>
              <a:t>We are trying to understand how variables in a dataset relate to each other and how those relationships depend on other variables.</a:t>
            </a:r>
          </a:p>
          <a:p>
            <a:pPr>
              <a:lnSpc>
                <a:spcPct val="150000"/>
              </a:lnSpc>
              <a:buFont typeface="Wingdings" panose="05000000000000000000" pitchFamily="2" charset="2"/>
              <a:buChar char="Ø"/>
            </a:pPr>
            <a:r>
              <a:rPr lang="en-US" sz="1700" dirty="0"/>
              <a:t>I will be using scatter plots, Seaborn scatter plots and histogram to visualize the data</a:t>
            </a:r>
          </a:p>
          <a:p>
            <a:pPr>
              <a:lnSpc>
                <a:spcPct val="150000"/>
              </a:lnSpc>
              <a:buFont typeface="Wingdings" panose="05000000000000000000" pitchFamily="2" charset="2"/>
              <a:buChar char="Ø"/>
            </a:pPr>
            <a:r>
              <a:rPr lang="en-US" sz="1700" dirty="0"/>
              <a:t>Primary variable component that will be utilize for correlation is Churn with Monthly Charges and Total Charges</a:t>
            </a:r>
          </a:p>
          <a:p>
            <a:pPr>
              <a:lnSpc>
                <a:spcPct val="150000"/>
              </a:lnSpc>
              <a:buFont typeface="Wingdings" panose="05000000000000000000" pitchFamily="2" charset="2"/>
              <a:buChar char="Ø"/>
            </a:pPr>
            <a:r>
              <a:rPr lang="en-US" sz="1700" dirty="0"/>
              <a:t>Other variables were chosen from the data set to analyze if there are any correlation between them with “Churn”. </a:t>
            </a:r>
          </a:p>
          <a:p>
            <a:pPr>
              <a:lnSpc>
                <a:spcPct val="150000"/>
              </a:lnSpc>
              <a:buFont typeface="Wingdings" panose="05000000000000000000" pitchFamily="2" charset="2"/>
              <a:buChar char="Ø"/>
            </a:pPr>
            <a:r>
              <a:rPr lang="en-US" sz="1700" dirty="0"/>
              <a:t>The following variables are categorical; Tenure, Gender, Senior Citizen</a:t>
            </a:r>
          </a:p>
          <a:p>
            <a:pPr>
              <a:lnSpc>
                <a:spcPct val="150000"/>
              </a:lnSpc>
              <a:buFont typeface="Wingdings" panose="05000000000000000000" pitchFamily="2" charset="2"/>
              <a:buChar char="Ø"/>
            </a:pPr>
            <a:r>
              <a:rPr lang="en-US" sz="1700" dirty="0"/>
              <a:t>We also made a bin/group based on Tenure to further find the data impacts</a:t>
            </a:r>
          </a:p>
          <a:p>
            <a:pPr>
              <a:buFont typeface="Wingdings" panose="05000000000000000000" pitchFamily="2" charset="2"/>
              <a:buChar char="Ø"/>
            </a:pPr>
            <a:endParaRPr lang="en-US" sz="1700" dirty="0"/>
          </a:p>
        </p:txBody>
      </p:sp>
    </p:spTree>
    <p:extLst>
      <p:ext uri="{BB962C8B-B14F-4D97-AF65-F5344CB8AC3E}">
        <p14:creationId xmlns:p14="http://schemas.microsoft.com/office/powerpoint/2010/main" val="3222380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9919C-FC7F-49AF-8F05-DEA3D4CD1B7B}"/>
              </a:ext>
            </a:extLst>
          </p:cNvPr>
          <p:cNvSpPr>
            <a:spLocks noGrp="1"/>
          </p:cNvSpPr>
          <p:nvPr>
            <p:ph type="title"/>
          </p:nvPr>
        </p:nvSpPr>
        <p:spPr>
          <a:xfrm>
            <a:off x="1653363" y="365760"/>
            <a:ext cx="9367203" cy="701894"/>
          </a:xfrm>
        </p:spPr>
        <p:txBody>
          <a:bodyPr>
            <a:normAutofit/>
          </a:bodyPr>
          <a:lstStyle/>
          <a:p>
            <a:r>
              <a:rPr lang="en-US" kern="1200" dirty="0">
                <a:solidFill>
                  <a:schemeClr val="tx1"/>
                </a:solidFill>
                <a:latin typeface="+mj-lt"/>
                <a:ea typeface="+mj-ea"/>
                <a:cs typeface="+mj-cs"/>
              </a:rPr>
              <a:t>Explore Dataset and Variables</a:t>
            </a:r>
            <a:endParaRPr lang="en-US" dirty="0"/>
          </a:p>
        </p:txBody>
      </p:sp>
      <p:sp>
        <p:nvSpPr>
          <p:cNvPr id="172" name="Freeform: Shape 110">
            <a:extLst>
              <a:ext uri="{FF2B5EF4-FFF2-40B4-BE49-F238E27FC236}">
                <a16:creationId xmlns:a16="http://schemas.microsoft.com/office/drawing/2014/main" id="{7CB4857B-ED7C-444D-9F04-2F885114A1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764099" cy="1558212"/>
          </a:xfrm>
          <a:custGeom>
            <a:avLst/>
            <a:gdLst>
              <a:gd name="connsiteX0" fmla="*/ 0 w 1764099"/>
              <a:gd name="connsiteY0" fmla="*/ 0 h 1558212"/>
              <a:gd name="connsiteX1" fmla="*/ 1764099 w 1764099"/>
              <a:gd name="connsiteY1" fmla="*/ 0 h 1558212"/>
              <a:gd name="connsiteX2" fmla="*/ 1042087 w 1764099"/>
              <a:gd name="connsiteY2" fmla="*/ 1558212 h 1558212"/>
              <a:gd name="connsiteX3" fmla="*/ 0 w 1764099"/>
              <a:gd name="connsiteY3" fmla="*/ 1558212 h 1558212"/>
            </a:gdLst>
            <a:ahLst/>
            <a:cxnLst>
              <a:cxn ang="0">
                <a:pos x="connsiteX0" y="connsiteY0"/>
              </a:cxn>
              <a:cxn ang="0">
                <a:pos x="connsiteX1" y="connsiteY1"/>
              </a:cxn>
              <a:cxn ang="0">
                <a:pos x="connsiteX2" y="connsiteY2"/>
              </a:cxn>
              <a:cxn ang="0">
                <a:pos x="connsiteX3" y="connsiteY3"/>
              </a:cxn>
            </a:cxnLst>
            <a:rect l="l" t="t" r="r" b="b"/>
            <a:pathLst>
              <a:path w="1764099" h="1558212">
                <a:moveTo>
                  <a:pt x="0" y="0"/>
                </a:moveTo>
                <a:lnTo>
                  <a:pt x="1764099" y="0"/>
                </a:lnTo>
                <a:lnTo>
                  <a:pt x="1042087" y="1558212"/>
                </a:lnTo>
                <a:lnTo>
                  <a:pt x="0" y="1558212"/>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3" name="Freeform: Shape 112">
            <a:extLst>
              <a:ext uri="{FF2B5EF4-FFF2-40B4-BE49-F238E27FC236}">
                <a16:creationId xmlns:a16="http://schemas.microsoft.com/office/drawing/2014/main" id="{D18046FB-44EA-4FD8-A585-EA09A319B2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691640"/>
            <a:ext cx="12191999" cy="5166360"/>
          </a:xfrm>
          <a:custGeom>
            <a:avLst/>
            <a:gdLst>
              <a:gd name="connsiteX0" fmla="*/ 0 w 12191999"/>
              <a:gd name="connsiteY0" fmla="*/ 0 h 5166360"/>
              <a:gd name="connsiteX1" fmla="*/ 1822388 w 12191999"/>
              <a:gd name="connsiteY1" fmla="*/ 0 h 5166360"/>
              <a:gd name="connsiteX2" fmla="*/ 6468290 w 12191999"/>
              <a:gd name="connsiteY2" fmla="*/ 0 h 5166360"/>
              <a:gd name="connsiteX3" fmla="*/ 7796394 w 12191999"/>
              <a:gd name="connsiteY3" fmla="*/ 0 h 5166360"/>
              <a:gd name="connsiteX4" fmla="*/ 8376834 w 12191999"/>
              <a:gd name="connsiteY4" fmla="*/ 0 h 5166360"/>
              <a:gd name="connsiteX5" fmla="*/ 9704938 w 12191999"/>
              <a:gd name="connsiteY5" fmla="*/ 0 h 5166360"/>
              <a:gd name="connsiteX6" fmla="*/ 9704938 w 12191999"/>
              <a:gd name="connsiteY6" fmla="*/ 2 h 5166360"/>
              <a:gd name="connsiteX7" fmla="*/ 10283456 w 12191999"/>
              <a:gd name="connsiteY7" fmla="*/ 2 h 5166360"/>
              <a:gd name="connsiteX8" fmla="*/ 10863897 w 12191999"/>
              <a:gd name="connsiteY8" fmla="*/ 2 h 5166360"/>
              <a:gd name="connsiteX9" fmla="*/ 12191999 w 12191999"/>
              <a:gd name="connsiteY9" fmla="*/ 2 h 5166360"/>
              <a:gd name="connsiteX10" fmla="*/ 12191999 w 12191999"/>
              <a:gd name="connsiteY10" fmla="*/ 5166360 h 5166360"/>
              <a:gd name="connsiteX11" fmla="*/ 0 w 12191999"/>
              <a:gd name="connsiteY11" fmla="*/ 5166360 h 5166360"/>
              <a:gd name="connsiteX12" fmla="*/ 0 w 12191999"/>
              <a:gd name="connsiteY12" fmla="*/ 2604436 h 5166360"/>
              <a:gd name="connsiteX13" fmla="*/ 862341 w 12191999"/>
              <a:gd name="connsiteY13" fmla="*/ 743371 h 5166360"/>
              <a:gd name="connsiteX14" fmla="*/ 0 w 12191999"/>
              <a:gd name="connsiteY14" fmla="*/ 743371 h 5166360"/>
              <a:gd name="connsiteX15" fmla="*/ 0 w 12191999"/>
              <a:gd name="connsiteY15" fmla="*/ 742508 h 5166360"/>
              <a:gd name="connsiteX16" fmla="*/ 92826 w 12191999"/>
              <a:gd name="connsiteY16" fmla="*/ 742508 h 5166360"/>
              <a:gd name="connsiteX17" fmla="*/ 406486 w 12191999"/>
              <a:gd name="connsiteY17" fmla="*/ 742508 h 5166360"/>
              <a:gd name="connsiteX18" fmla="*/ 406486 w 12191999"/>
              <a:gd name="connsiteY18" fmla="*/ 742507 h 5166360"/>
              <a:gd name="connsiteX19" fmla="*/ 862741 w 12191999"/>
              <a:gd name="connsiteY19" fmla="*/ 742507 h 5166360"/>
              <a:gd name="connsiteX20" fmla="*/ 1206388 w 12191999"/>
              <a:gd name="connsiteY20" fmla="*/ 864 h 5166360"/>
              <a:gd name="connsiteX21" fmla="*/ 748500 w 12191999"/>
              <a:gd name="connsiteY21" fmla="*/ 864 h 5166360"/>
              <a:gd name="connsiteX22" fmla="*/ 0 w 12191999"/>
              <a:gd name="connsiteY22" fmla="*/ 864 h 516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91999" h="5166360">
                <a:moveTo>
                  <a:pt x="0" y="0"/>
                </a:moveTo>
                <a:lnTo>
                  <a:pt x="1822388" y="0"/>
                </a:lnTo>
                <a:lnTo>
                  <a:pt x="6468290" y="0"/>
                </a:lnTo>
                <a:lnTo>
                  <a:pt x="7796394" y="0"/>
                </a:lnTo>
                <a:lnTo>
                  <a:pt x="8376834" y="0"/>
                </a:lnTo>
                <a:lnTo>
                  <a:pt x="9704938" y="0"/>
                </a:lnTo>
                <a:lnTo>
                  <a:pt x="9704938" y="2"/>
                </a:lnTo>
                <a:lnTo>
                  <a:pt x="10283456" y="2"/>
                </a:lnTo>
                <a:lnTo>
                  <a:pt x="10863897" y="2"/>
                </a:lnTo>
                <a:lnTo>
                  <a:pt x="12191999" y="2"/>
                </a:lnTo>
                <a:lnTo>
                  <a:pt x="12191999" y="5166360"/>
                </a:lnTo>
                <a:lnTo>
                  <a:pt x="0" y="5166360"/>
                </a:lnTo>
                <a:lnTo>
                  <a:pt x="0" y="2604436"/>
                </a:lnTo>
                <a:lnTo>
                  <a:pt x="862341" y="743371"/>
                </a:lnTo>
                <a:lnTo>
                  <a:pt x="0" y="743371"/>
                </a:lnTo>
                <a:lnTo>
                  <a:pt x="0" y="742508"/>
                </a:lnTo>
                <a:lnTo>
                  <a:pt x="92826" y="742508"/>
                </a:lnTo>
                <a:lnTo>
                  <a:pt x="406486" y="742508"/>
                </a:lnTo>
                <a:lnTo>
                  <a:pt x="406486" y="742507"/>
                </a:lnTo>
                <a:lnTo>
                  <a:pt x="862741" y="742507"/>
                </a:lnTo>
                <a:lnTo>
                  <a:pt x="1206388" y="864"/>
                </a:lnTo>
                <a:lnTo>
                  <a:pt x="748500" y="864"/>
                </a:lnTo>
                <a:lnTo>
                  <a:pt x="0" y="864"/>
                </a:lnTo>
                <a:close/>
              </a:path>
            </a:pathLst>
          </a:custGeom>
          <a:solidFill>
            <a:srgbClr val="A6A6A6">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4" name="Freeform: Shape 114">
            <a:extLst>
              <a:ext uri="{FF2B5EF4-FFF2-40B4-BE49-F238E27FC236}">
                <a16:creationId xmlns:a16="http://schemas.microsoft.com/office/drawing/2014/main" id="{479F5F2B-8B58-4140-AE6A-51F6C67B18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691641"/>
            <a:ext cx="971654" cy="2096979"/>
          </a:xfrm>
          <a:custGeom>
            <a:avLst/>
            <a:gdLst>
              <a:gd name="connsiteX0" fmla="*/ 0 w 971654"/>
              <a:gd name="connsiteY0" fmla="*/ 0 h 2096979"/>
              <a:gd name="connsiteX1" fmla="*/ 971654 w 971654"/>
              <a:gd name="connsiteY1" fmla="*/ 0 h 2096979"/>
              <a:gd name="connsiteX2" fmla="*/ 0 w 971654"/>
              <a:gd name="connsiteY2" fmla="*/ 2096979 h 2096979"/>
            </a:gdLst>
            <a:ahLst/>
            <a:cxnLst>
              <a:cxn ang="0">
                <a:pos x="connsiteX0" y="connsiteY0"/>
              </a:cxn>
              <a:cxn ang="0">
                <a:pos x="connsiteX1" y="connsiteY1"/>
              </a:cxn>
              <a:cxn ang="0">
                <a:pos x="connsiteX2" y="connsiteY2"/>
              </a:cxn>
            </a:cxnLst>
            <a:rect l="l" t="t" r="r" b="b"/>
            <a:pathLst>
              <a:path w="971654" h="2096979">
                <a:moveTo>
                  <a:pt x="0" y="0"/>
                </a:moveTo>
                <a:lnTo>
                  <a:pt x="971654" y="0"/>
                </a:lnTo>
                <a:lnTo>
                  <a:pt x="0" y="2096979"/>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TextBox 6">
            <a:extLst>
              <a:ext uri="{FF2B5EF4-FFF2-40B4-BE49-F238E27FC236}">
                <a16:creationId xmlns:a16="http://schemas.microsoft.com/office/drawing/2014/main" id="{551B09FC-3935-41C3-9D11-DAA53B18B9CD}"/>
              </a:ext>
            </a:extLst>
          </p:cNvPr>
          <p:cNvSpPr txBox="1"/>
          <p:nvPr/>
        </p:nvSpPr>
        <p:spPr>
          <a:xfrm>
            <a:off x="2941982" y="1677906"/>
            <a:ext cx="5797813" cy="369332"/>
          </a:xfrm>
          <a:prstGeom prst="rect">
            <a:avLst/>
          </a:prstGeom>
          <a:noFill/>
        </p:spPr>
        <p:txBody>
          <a:bodyPr wrap="square" rtlCol="0">
            <a:spAutoFit/>
          </a:bodyPr>
          <a:lstStyle/>
          <a:p>
            <a:pPr algn="ctr"/>
            <a:r>
              <a:rPr lang="en-US" dirty="0"/>
              <a:t>Actual Churn and Non-Churn</a:t>
            </a:r>
          </a:p>
        </p:txBody>
      </p:sp>
      <p:sp>
        <p:nvSpPr>
          <p:cNvPr id="9" name="TextBox 8">
            <a:extLst>
              <a:ext uri="{FF2B5EF4-FFF2-40B4-BE49-F238E27FC236}">
                <a16:creationId xmlns:a16="http://schemas.microsoft.com/office/drawing/2014/main" id="{F4584037-8A60-4410-9259-4AD7CFCE61C9}"/>
              </a:ext>
            </a:extLst>
          </p:cNvPr>
          <p:cNvSpPr txBox="1"/>
          <p:nvPr/>
        </p:nvSpPr>
        <p:spPr>
          <a:xfrm>
            <a:off x="1992732" y="5218351"/>
            <a:ext cx="8454358" cy="923330"/>
          </a:xfrm>
          <a:prstGeom prst="rect">
            <a:avLst/>
          </a:prstGeom>
          <a:noFill/>
        </p:spPr>
        <p:txBody>
          <a:bodyPr wrap="square" rtlCol="0">
            <a:spAutoFit/>
          </a:bodyPr>
          <a:lstStyle/>
          <a:p>
            <a:r>
              <a:rPr lang="en-US" dirty="0"/>
              <a:t>Total: 7043 recodes,  Actual Churn 1869 and Non-Churn 5174. Data is highly imbalanced, ratio = 73:27, We will analyze the data with other features while taking the target values separately to get some insights</a:t>
            </a:r>
          </a:p>
        </p:txBody>
      </p:sp>
      <p:pic>
        <p:nvPicPr>
          <p:cNvPr id="2052" name="Picture 4">
            <a:extLst>
              <a:ext uri="{FF2B5EF4-FFF2-40B4-BE49-F238E27FC236}">
                <a16:creationId xmlns:a16="http://schemas.microsoft.com/office/drawing/2014/main" id="{A146BABB-5CA6-40B4-9B5C-5DC7F755278B}"/>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299429" y="2060972"/>
            <a:ext cx="6440367" cy="30278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57481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9919C-FC7F-49AF-8F05-DEA3D4CD1B7B}"/>
              </a:ext>
            </a:extLst>
          </p:cNvPr>
          <p:cNvSpPr>
            <a:spLocks noGrp="1"/>
          </p:cNvSpPr>
          <p:nvPr>
            <p:ph type="title"/>
          </p:nvPr>
        </p:nvSpPr>
        <p:spPr>
          <a:xfrm>
            <a:off x="1653363" y="365760"/>
            <a:ext cx="9367203" cy="701894"/>
          </a:xfrm>
        </p:spPr>
        <p:txBody>
          <a:bodyPr>
            <a:normAutofit/>
          </a:bodyPr>
          <a:lstStyle/>
          <a:p>
            <a:r>
              <a:rPr lang="en-US" kern="1200" dirty="0">
                <a:solidFill>
                  <a:schemeClr val="tx1"/>
                </a:solidFill>
                <a:latin typeface="+mj-lt"/>
                <a:ea typeface="+mj-ea"/>
                <a:cs typeface="+mj-cs"/>
              </a:rPr>
              <a:t>Explore Dataset and Variables</a:t>
            </a:r>
            <a:endParaRPr lang="en-US" dirty="0"/>
          </a:p>
        </p:txBody>
      </p:sp>
      <p:sp>
        <p:nvSpPr>
          <p:cNvPr id="172" name="Freeform: Shape 110">
            <a:extLst>
              <a:ext uri="{FF2B5EF4-FFF2-40B4-BE49-F238E27FC236}">
                <a16:creationId xmlns:a16="http://schemas.microsoft.com/office/drawing/2014/main" id="{7CB4857B-ED7C-444D-9F04-2F885114A1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764099" cy="1558212"/>
          </a:xfrm>
          <a:custGeom>
            <a:avLst/>
            <a:gdLst>
              <a:gd name="connsiteX0" fmla="*/ 0 w 1764099"/>
              <a:gd name="connsiteY0" fmla="*/ 0 h 1558212"/>
              <a:gd name="connsiteX1" fmla="*/ 1764099 w 1764099"/>
              <a:gd name="connsiteY1" fmla="*/ 0 h 1558212"/>
              <a:gd name="connsiteX2" fmla="*/ 1042087 w 1764099"/>
              <a:gd name="connsiteY2" fmla="*/ 1558212 h 1558212"/>
              <a:gd name="connsiteX3" fmla="*/ 0 w 1764099"/>
              <a:gd name="connsiteY3" fmla="*/ 1558212 h 1558212"/>
            </a:gdLst>
            <a:ahLst/>
            <a:cxnLst>
              <a:cxn ang="0">
                <a:pos x="connsiteX0" y="connsiteY0"/>
              </a:cxn>
              <a:cxn ang="0">
                <a:pos x="connsiteX1" y="connsiteY1"/>
              </a:cxn>
              <a:cxn ang="0">
                <a:pos x="connsiteX2" y="connsiteY2"/>
              </a:cxn>
              <a:cxn ang="0">
                <a:pos x="connsiteX3" y="connsiteY3"/>
              </a:cxn>
            </a:cxnLst>
            <a:rect l="l" t="t" r="r" b="b"/>
            <a:pathLst>
              <a:path w="1764099" h="1558212">
                <a:moveTo>
                  <a:pt x="0" y="0"/>
                </a:moveTo>
                <a:lnTo>
                  <a:pt x="1764099" y="0"/>
                </a:lnTo>
                <a:lnTo>
                  <a:pt x="1042087" y="1558212"/>
                </a:lnTo>
                <a:lnTo>
                  <a:pt x="0" y="1558212"/>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3" name="Freeform: Shape 112">
            <a:extLst>
              <a:ext uri="{FF2B5EF4-FFF2-40B4-BE49-F238E27FC236}">
                <a16:creationId xmlns:a16="http://schemas.microsoft.com/office/drawing/2014/main" id="{D18046FB-44EA-4FD8-A585-EA09A319B2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691640"/>
            <a:ext cx="12191999" cy="5166360"/>
          </a:xfrm>
          <a:custGeom>
            <a:avLst/>
            <a:gdLst>
              <a:gd name="connsiteX0" fmla="*/ 0 w 12191999"/>
              <a:gd name="connsiteY0" fmla="*/ 0 h 5166360"/>
              <a:gd name="connsiteX1" fmla="*/ 1822388 w 12191999"/>
              <a:gd name="connsiteY1" fmla="*/ 0 h 5166360"/>
              <a:gd name="connsiteX2" fmla="*/ 6468290 w 12191999"/>
              <a:gd name="connsiteY2" fmla="*/ 0 h 5166360"/>
              <a:gd name="connsiteX3" fmla="*/ 7796394 w 12191999"/>
              <a:gd name="connsiteY3" fmla="*/ 0 h 5166360"/>
              <a:gd name="connsiteX4" fmla="*/ 8376834 w 12191999"/>
              <a:gd name="connsiteY4" fmla="*/ 0 h 5166360"/>
              <a:gd name="connsiteX5" fmla="*/ 9704938 w 12191999"/>
              <a:gd name="connsiteY5" fmla="*/ 0 h 5166360"/>
              <a:gd name="connsiteX6" fmla="*/ 9704938 w 12191999"/>
              <a:gd name="connsiteY6" fmla="*/ 2 h 5166360"/>
              <a:gd name="connsiteX7" fmla="*/ 10283456 w 12191999"/>
              <a:gd name="connsiteY7" fmla="*/ 2 h 5166360"/>
              <a:gd name="connsiteX8" fmla="*/ 10863897 w 12191999"/>
              <a:gd name="connsiteY8" fmla="*/ 2 h 5166360"/>
              <a:gd name="connsiteX9" fmla="*/ 12191999 w 12191999"/>
              <a:gd name="connsiteY9" fmla="*/ 2 h 5166360"/>
              <a:gd name="connsiteX10" fmla="*/ 12191999 w 12191999"/>
              <a:gd name="connsiteY10" fmla="*/ 5166360 h 5166360"/>
              <a:gd name="connsiteX11" fmla="*/ 0 w 12191999"/>
              <a:gd name="connsiteY11" fmla="*/ 5166360 h 5166360"/>
              <a:gd name="connsiteX12" fmla="*/ 0 w 12191999"/>
              <a:gd name="connsiteY12" fmla="*/ 2604436 h 5166360"/>
              <a:gd name="connsiteX13" fmla="*/ 862341 w 12191999"/>
              <a:gd name="connsiteY13" fmla="*/ 743371 h 5166360"/>
              <a:gd name="connsiteX14" fmla="*/ 0 w 12191999"/>
              <a:gd name="connsiteY14" fmla="*/ 743371 h 5166360"/>
              <a:gd name="connsiteX15" fmla="*/ 0 w 12191999"/>
              <a:gd name="connsiteY15" fmla="*/ 742508 h 5166360"/>
              <a:gd name="connsiteX16" fmla="*/ 92826 w 12191999"/>
              <a:gd name="connsiteY16" fmla="*/ 742508 h 5166360"/>
              <a:gd name="connsiteX17" fmla="*/ 406486 w 12191999"/>
              <a:gd name="connsiteY17" fmla="*/ 742508 h 5166360"/>
              <a:gd name="connsiteX18" fmla="*/ 406486 w 12191999"/>
              <a:gd name="connsiteY18" fmla="*/ 742507 h 5166360"/>
              <a:gd name="connsiteX19" fmla="*/ 862741 w 12191999"/>
              <a:gd name="connsiteY19" fmla="*/ 742507 h 5166360"/>
              <a:gd name="connsiteX20" fmla="*/ 1206388 w 12191999"/>
              <a:gd name="connsiteY20" fmla="*/ 864 h 5166360"/>
              <a:gd name="connsiteX21" fmla="*/ 748500 w 12191999"/>
              <a:gd name="connsiteY21" fmla="*/ 864 h 5166360"/>
              <a:gd name="connsiteX22" fmla="*/ 0 w 12191999"/>
              <a:gd name="connsiteY22" fmla="*/ 864 h 516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91999" h="5166360">
                <a:moveTo>
                  <a:pt x="0" y="0"/>
                </a:moveTo>
                <a:lnTo>
                  <a:pt x="1822388" y="0"/>
                </a:lnTo>
                <a:lnTo>
                  <a:pt x="6468290" y="0"/>
                </a:lnTo>
                <a:lnTo>
                  <a:pt x="7796394" y="0"/>
                </a:lnTo>
                <a:lnTo>
                  <a:pt x="8376834" y="0"/>
                </a:lnTo>
                <a:lnTo>
                  <a:pt x="9704938" y="0"/>
                </a:lnTo>
                <a:lnTo>
                  <a:pt x="9704938" y="2"/>
                </a:lnTo>
                <a:lnTo>
                  <a:pt x="10283456" y="2"/>
                </a:lnTo>
                <a:lnTo>
                  <a:pt x="10863897" y="2"/>
                </a:lnTo>
                <a:lnTo>
                  <a:pt x="12191999" y="2"/>
                </a:lnTo>
                <a:lnTo>
                  <a:pt x="12191999" y="5166360"/>
                </a:lnTo>
                <a:lnTo>
                  <a:pt x="0" y="5166360"/>
                </a:lnTo>
                <a:lnTo>
                  <a:pt x="0" y="2604436"/>
                </a:lnTo>
                <a:lnTo>
                  <a:pt x="862341" y="743371"/>
                </a:lnTo>
                <a:lnTo>
                  <a:pt x="0" y="743371"/>
                </a:lnTo>
                <a:lnTo>
                  <a:pt x="0" y="742508"/>
                </a:lnTo>
                <a:lnTo>
                  <a:pt x="92826" y="742508"/>
                </a:lnTo>
                <a:lnTo>
                  <a:pt x="406486" y="742508"/>
                </a:lnTo>
                <a:lnTo>
                  <a:pt x="406486" y="742507"/>
                </a:lnTo>
                <a:lnTo>
                  <a:pt x="862741" y="742507"/>
                </a:lnTo>
                <a:lnTo>
                  <a:pt x="1206388" y="864"/>
                </a:lnTo>
                <a:lnTo>
                  <a:pt x="748500" y="864"/>
                </a:lnTo>
                <a:lnTo>
                  <a:pt x="0" y="864"/>
                </a:lnTo>
                <a:close/>
              </a:path>
            </a:pathLst>
          </a:custGeom>
          <a:solidFill>
            <a:srgbClr val="A6A6A6">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4" name="Freeform: Shape 114">
            <a:extLst>
              <a:ext uri="{FF2B5EF4-FFF2-40B4-BE49-F238E27FC236}">
                <a16:creationId xmlns:a16="http://schemas.microsoft.com/office/drawing/2014/main" id="{479F5F2B-8B58-4140-AE6A-51F6C67B18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691641"/>
            <a:ext cx="971654" cy="2096979"/>
          </a:xfrm>
          <a:custGeom>
            <a:avLst/>
            <a:gdLst>
              <a:gd name="connsiteX0" fmla="*/ 0 w 971654"/>
              <a:gd name="connsiteY0" fmla="*/ 0 h 2096979"/>
              <a:gd name="connsiteX1" fmla="*/ 971654 w 971654"/>
              <a:gd name="connsiteY1" fmla="*/ 0 h 2096979"/>
              <a:gd name="connsiteX2" fmla="*/ 0 w 971654"/>
              <a:gd name="connsiteY2" fmla="*/ 2096979 h 2096979"/>
            </a:gdLst>
            <a:ahLst/>
            <a:cxnLst>
              <a:cxn ang="0">
                <a:pos x="connsiteX0" y="connsiteY0"/>
              </a:cxn>
              <a:cxn ang="0">
                <a:pos x="connsiteX1" y="connsiteY1"/>
              </a:cxn>
              <a:cxn ang="0">
                <a:pos x="connsiteX2" y="connsiteY2"/>
              </a:cxn>
            </a:cxnLst>
            <a:rect l="l" t="t" r="r" b="b"/>
            <a:pathLst>
              <a:path w="971654" h="2096979">
                <a:moveTo>
                  <a:pt x="0" y="0"/>
                </a:moveTo>
                <a:lnTo>
                  <a:pt x="971654" y="0"/>
                </a:lnTo>
                <a:lnTo>
                  <a:pt x="0" y="2096979"/>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TextBox 8">
            <a:extLst>
              <a:ext uri="{FF2B5EF4-FFF2-40B4-BE49-F238E27FC236}">
                <a16:creationId xmlns:a16="http://schemas.microsoft.com/office/drawing/2014/main" id="{F4584037-8A60-4410-9259-4AD7CFCE61C9}"/>
              </a:ext>
            </a:extLst>
          </p:cNvPr>
          <p:cNvSpPr txBox="1"/>
          <p:nvPr/>
        </p:nvSpPr>
        <p:spPr>
          <a:xfrm>
            <a:off x="1992732" y="5218351"/>
            <a:ext cx="8454358" cy="615553"/>
          </a:xfrm>
          <a:prstGeom prst="rect">
            <a:avLst/>
          </a:prstGeom>
          <a:noFill/>
        </p:spPr>
        <p:txBody>
          <a:bodyPr wrap="square" rtlCol="0">
            <a:spAutoFit/>
          </a:bodyPr>
          <a:lstStyle/>
          <a:p>
            <a:r>
              <a:rPr lang="en-US" sz="1700" dirty="0"/>
              <a:t>No outliers, spread between Gender and Churn on Senior Citizen gender seems to have some relationship with Churn</a:t>
            </a:r>
          </a:p>
        </p:txBody>
      </p:sp>
      <p:pic>
        <p:nvPicPr>
          <p:cNvPr id="3074" name="Picture 2">
            <a:extLst>
              <a:ext uri="{FF2B5EF4-FFF2-40B4-BE49-F238E27FC236}">
                <a16:creationId xmlns:a16="http://schemas.microsoft.com/office/drawing/2014/main" id="{C0FDA0FF-31FC-4612-95C2-F2A28AACFC0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9257" y="2278907"/>
            <a:ext cx="4381818" cy="3019425"/>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a:extLst>
              <a:ext uri="{FF2B5EF4-FFF2-40B4-BE49-F238E27FC236}">
                <a16:creationId xmlns:a16="http://schemas.microsoft.com/office/drawing/2014/main" id="{FC21860B-EB8F-4BE4-A67F-D71300988727}"/>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6317936" y="2260662"/>
            <a:ext cx="4702629" cy="2957688"/>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F24FCA8B-BBF3-4AFD-94EB-CDDE0993DA44}"/>
              </a:ext>
            </a:extLst>
          </p:cNvPr>
          <p:cNvSpPr txBox="1"/>
          <p:nvPr/>
        </p:nvSpPr>
        <p:spPr>
          <a:xfrm>
            <a:off x="1576873" y="1724909"/>
            <a:ext cx="4167586" cy="369332"/>
          </a:xfrm>
          <a:prstGeom prst="rect">
            <a:avLst/>
          </a:prstGeom>
          <a:noFill/>
        </p:spPr>
        <p:txBody>
          <a:bodyPr wrap="square" rtlCol="0">
            <a:spAutoFit/>
          </a:bodyPr>
          <a:lstStyle/>
          <a:p>
            <a:pPr algn="ctr"/>
            <a:r>
              <a:rPr lang="en-US" dirty="0"/>
              <a:t>Churn vs Gender</a:t>
            </a:r>
          </a:p>
        </p:txBody>
      </p:sp>
      <p:sp>
        <p:nvSpPr>
          <p:cNvPr id="19" name="TextBox 18">
            <a:extLst>
              <a:ext uri="{FF2B5EF4-FFF2-40B4-BE49-F238E27FC236}">
                <a16:creationId xmlns:a16="http://schemas.microsoft.com/office/drawing/2014/main" id="{4E92F6BD-766C-4497-A187-1B5EED325982}"/>
              </a:ext>
            </a:extLst>
          </p:cNvPr>
          <p:cNvSpPr txBox="1"/>
          <p:nvPr/>
        </p:nvSpPr>
        <p:spPr>
          <a:xfrm>
            <a:off x="6410131" y="1677906"/>
            <a:ext cx="4525346" cy="369332"/>
          </a:xfrm>
          <a:prstGeom prst="rect">
            <a:avLst/>
          </a:prstGeom>
          <a:noFill/>
        </p:spPr>
        <p:txBody>
          <a:bodyPr wrap="square" rtlCol="0">
            <a:spAutoFit/>
          </a:bodyPr>
          <a:lstStyle>
            <a:defPPr>
              <a:defRPr lang="en-US"/>
            </a:defPPr>
            <a:lvl1pPr algn="ctr"/>
          </a:lstStyle>
          <a:p>
            <a:r>
              <a:rPr lang="en-US" dirty="0"/>
              <a:t>Churn vs Senior Citizen</a:t>
            </a:r>
          </a:p>
        </p:txBody>
      </p:sp>
    </p:spTree>
    <p:extLst>
      <p:ext uri="{BB962C8B-B14F-4D97-AF65-F5344CB8AC3E}">
        <p14:creationId xmlns:p14="http://schemas.microsoft.com/office/powerpoint/2010/main" val="32036213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9919C-FC7F-49AF-8F05-DEA3D4CD1B7B}"/>
              </a:ext>
            </a:extLst>
          </p:cNvPr>
          <p:cNvSpPr>
            <a:spLocks noGrp="1"/>
          </p:cNvSpPr>
          <p:nvPr>
            <p:ph type="title"/>
          </p:nvPr>
        </p:nvSpPr>
        <p:spPr>
          <a:xfrm>
            <a:off x="1653363" y="365760"/>
            <a:ext cx="9367203" cy="701894"/>
          </a:xfrm>
        </p:spPr>
        <p:txBody>
          <a:bodyPr>
            <a:normAutofit/>
          </a:bodyPr>
          <a:lstStyle/>
          <a:p>
            <a:r>
              <a:rPr lang="en-US" kern="1200" dirty="0">
                <a:solidFill>
                  <a:schemeClr val="tx1"/>
                </a:solidFill>
                <a:latin typeface="+mj-lt"/>
                <a:ea typeface="+mj-ea"/>
                <a:cs typeface="+mj-cs"/>
              </a:rPr>
              <a:t>Cleansing Data for Outlier</a:t>
            </a:r>
            <a:endParaRPr lang="en-US" dirty="0"/>
          </a:p>
        </p:txBody>
      </p:sp>
      <p:sp>
        <p:nvSpPr>
          <p:cNvPr id="172" name="Freeform: Shape 110">
            <a:extLst>
              <a:ext uri="{FF2B5EF4-FFF2-40B4-BE49-F238E27FC236}">
                <a16:creationId xmlns:a16="http://schemas.microsoft.com/office/drawing/2014/main" id="{7CB4857B-ED7C-444D-9F04-2F885114A1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764099" cy="1558212"/>
          </a:xfrm>
          <a:custGeom>
            <a:avLst/>
            <a:gdLst>
              <a:gd name="connsiteX0" fmla="*/ 0 w 1764099"/>
              <a:gd name="connsiteY0" fmla="*/ 0 h 1558212"/>
              <a:gd name="connsiteX1" fmla="*/ 1764099 w 1764099"/>
              <a:gd name="connsiteY1" fmla="*/ 0 h 1558212"/>
              <a:gd name="connsiteX2" fmla="*/ 1042087 w 1764099"/>
              <a:gd name="connsiteY2" fmla="*/ 1558212 h 1558212"/>
              <a:gd name="connsiteX3" fmla="*/ 0 w 1764099"/>
              <a:gd name="connsiteY3" fmla="*/ 1558212 h 1558212"/>
            </a:gdLst>
            <a:ahLst/>
            <a:cxnLst>
              <a:cxn ang="0">
                <a:pos x="connsiteX0" y="connsiteY0"/>
              </a:cxn>
              <a:cxn ang="0">
                <a:pos x="connsiteX1" y="connsiteY1"/>
              </a:cxn>
              <a:cxn ang="0">
                <a:pos x="connsiteX2" y="connsiteY2"/>
              </a:cxn>
              <a:cxn ang="0">
                <a:pos x="connsiteX3" y="connsiteY3"/>
              </a:cxn>
            </a:cxnLst>
            <a:rect l="l" t="t" r="r" b="b"/>
            <a:pathLst>
              <a:path w="1764099" h="1558212">
                <a:moveTo>
                  <a:pt x="0" y="0"/>
                </a:moveTo>
                <a:lnTo>
                  <a:pt x="1764099" y="0"/>
                </a:lnTo>
                <a:lnTo>
                  <a:pt x="1042087" y="1558212"/>
                </a:lnTo>
                <a:lnTo>
                  <a:pt x="0" y="1558212"/>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3" name="Freeform: Shape 112">
            <a:extLst>
              <a:ext uri="{FF2B5EF4-FFF2-40B4-BE49-F238E27FC236}">
                <a16:creationId xmlns:a16="http://schemas.microsoft.com/office/drawing/2014/main" id="{D18046FB-44EA-4FD8-A585-EA09A319B2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691640"/>
            <a:ext cx="12191999" cy="5166360"/>
          </a:xfrm>
          <a:custGeom>
            <a:avLst/>
            <a:gdLst>
              <a:gd name="connsiteX0" fmla="*/ 0 w 12191999"/>
              <a:gd name="connsiteY0" fmla="*/ 0 h 5166360"/>
              <a:gd name="connsiteX1" fmla="*/ 1822388 w 12191999"/>
              <a:gd name="connsiteY1" fmla="*/ 0 h 5166360"/>
              <a:gd name="connsiteX2" fmla="*/ 6468290 w 12191999"/>
              <a:gd name="connsiteY2" fmla="*/ 0 h 5166360"/>
              <a:gd name="connsiteX3" fmla="*/ 7796394 w 12191999"/>
              <a:gd name="connsiteY3" fmla="*/ 0 h 5166360"/>
              <a:gd name="connsiteX4" fmla="*/ 8376834 w 12191999"/>
              <a:gd name="connsiteY4" fmla="*/ 0 h 5166360"/>
              <a:gd name="connsiteX5" fmla="*/ 9704938 w 12191999"/>
              <a:gd name="connsiteY5" fmla="*/ 0 h 5166360"/>
              <a:gd name="connsiteX6" fmla="*/ 9704938 w 12191999"/>
              <a:gd name="connsiteY6" fmla="*/ 2 h 5166360"/>
              <a:gd name="connsiteX7" fmla="*/ 10283456 w 12191999"/>
              <a:gd name="connsiteY7" fmla="*/ 2 h 5166360"/>
              <a:gd name="connsiteX8" fmla="*/ 10863897 w 12191999"/>
              <a:gd name="connsiteY8" fmla="*/ 2 h 5166360"/>
              <a:gd name="connsiteX9" fmla="*/ 12191999 w 12191999"/>
              <a:gd name="connsiteY9" fmla="*/ 2 h 5166360"/>
              <a:gd name="connsiteX10" fmla="*/ 12191999 w 12191999"/>
              <a:gd name="connsiteY10" fmla="*/ 5166360 h 5166360"/>
              <a:gd name="connsiteX11" fmla="*/ 0 w 12191999"/>
              <a:gd name="connsiteY11" fmla="*/ 5166360 h 5166360"/>
              <a:gd name="connsiteX12" fmla="*/ 0 w 12191999"/>
              <a:gd name="connsiteY12" fmla="*/ 2604436 h 5166360"/>
              <a:gd name="connsiteX13" fmla="*/ 862341 w 12191999"/>
              <a:gd name="connsiteY13" fmla="*/ 743371 h 5166360"/>
              <a:gd name="connsiteX14" fmla="*/ 0 w 12191999"/>
              <a:gd name="connsiteY14" fmla="*/ 743371 h 5166360"/>
              <a:gd name="connsiteX15" fmla="*/ 0 w 12191999"/>
              <a:gd name="connsiteY15" fmla="*/ 742508 h 5166360"/>
              <a:gd name="connsiteX16" fmla="*/ 92826 w 12191999"/>
              <a:gd name="connsiteY16" fmla="*/ 742508 h 5166360"/>
              <a:gd name="connsiteX17" fmla="*/ 406486 w 12191999"/>
              <a:gd name="connsiteY17" fmla="*/ 742508 h 5166360"/>
              <a:gd name="connsiteX18" fmla="*/ 406486 w 12191999"/>
              <a:gd name="connsiteY18" fmla="*/ 742507 h 5166360"/>
              <a:gd name="connsiteX19" fmla="*/ 862741 w 12191999"/>
              <a:gd name="connsiteY19" fmla="*/ 742507 h 5166360"/>
              <a:gd name="connsiteX20" fmla="*/ 1206388 w 12191999"/>
              <a:gd name="connsiteY20" fmla="*/ 864 h 5166360"/>
              <a:gd name="connsiteX21" fmla="*/ 748500 w 12191999"/>
              <a:gd name="connsiteY21" fmla="*/ 864 h 5166360"/>
              <a:gd name="connsiteX22" fmla="*/ 0 w 12191999"/>
              <a:gd name="connsiteY22" fmla="*/ 864 h 516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91999" h="5166360">
                <a:moveTo>
                  <a:pt x="0" y="0"/>
                </a:moveTo>
                <a:lnTo>
                  <a:pt x="1822388" y="0"/>
                </a:lnTo>
                <a:lnTo>
                  <a:pt x="6468290" y="0"/>
                </a:lnTo>
                <a:lnTo>
                  <a:pt x="7796394" y="0"/>
                </a:lnTo>
                <a:lnTo>
                  <a:pt x="8376834" y="0"/>
                </a:lnTo>
                <a:lnTo>
                  <a:pt x="9704938" y="0"/>
                </a:lnTo>
                <a:lnTo>
                  <a:pt x="9704938" y="2"/>
                </a:lnTo>
                <a:lnTo>
                  <a:pt x="10283456" y="2"/>
                </a:lnTo>
                <a:lnTo>
                  <a:pt x="10863897" y="2"/>
                </a:lnTo>
                <a:lnTo>
                  <a:pt x="12191999" y="2"/>
                </a:lnTo>
                <a:lnTo>
                  <a:pt x="12191999" y="5166360"/>
                </a:lnTo>
                <a:lnTo>
                  <a:pt x="0" y="5166360"/>
                </a:lnTo>
                <a:lnTo>
                  <a:pt x="0" y="2604436"/>
                </a:lnTo>
                <a:lnTo>
                  <a:pt x="862341" y="743371"/>
                </a:lnTo>
                <a:lnTo>
                  <a:pt x="0" y="743371"/>
                </a:lnTo>
                <a:lnTo>
                  <a:pt x="0" y="742508"/>
                </a:lnTo>
                <a:lnTo>
                  <a:pt x="92826" y="742508"/>
                </a:lnTo>
                <a:lnTo>
                  <a:pt x="406486" y="742508"/>
                </a:lnTo>
                <a:lnTo>
                  <a:pt x="406486" y="742507"/>
                </a:lnTo>
                <a:lnTo>
                  <a:pt x="862741" y="742507"/>
                </a:lnTo>
                <a:lnTo>
                  <a:pt x="1206388" y="864"/>
                </a:lnTo>
                <a:lnTo>
                  <a:pt x="748500" y="864"/>
                </a:lnTo>
                <a:lnTo>
                  <a:pt x="0" y="864"/>
                </a:lnTo>
                <a:close/>
              </a:path>
            </a:pathLst>
          </a:custGeom>
          <a:solidFill>
            <a:srgbClr val="A6A6A6">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4" name="Freeform: Shape 114">
            <a:extLst>
              <a:ext uri="{FF2B5EF4-FFF2-40B4-BE49-F238E27FC236}">
                <a16:creationId xmlns:a16="http://schemas.microsoft.com/office/drawing/2014/main" id="{479F5F2B-8B58-4140-AE6A-51F6C67B18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691641"/>
            <a:ext cx="971654" cy="2096979"/>
          </a:xfrm>
          <a:custGeom>
            <a:avLst/>
            <a:gdLst>
              <a:gd name="connsiteX0" fmla="*/ 0 w 971654"/>
              <a:gd name="connsiteY0" fmla="*/ 0 h 2096979"/>
              <a:gd name="connsiteX1" fmla="*/ 971654 w 971654"/>
              <a:gd name="connsiteY1" fmla="*/ 0 h 2096979"/>
              <a:gd name="connsiteX2" fmla="*/ 0 w 971654"/>
              <a:gd name="connsiteY2" fmla="*/ 2096979 h 2096979"/>
            </a:gdLst>
            <a:ahLst/>
            <a:cxnLst>
              <a:cxn ang="0">
                <a:pos x="connsiteX0" y="connsiteY0"/>
              </a:cxn>
              <a:cxn ang="0">
                <a:pos x="connsiteX1" y="connsiteY1"/>
              </a:cxn>
              <a:cxn ang="0">
                <a:pos x="connsiteX2" y="connsiteY2"/>
              </a:cxn>
            </a:cxnLst>
            <a:rect l="l" t="t" r="r" b="b"/>
            <a:pathLst>
              <a:path w="971654" h="2096979">
                <a:moveTo>
                  <a:pt x="0" y="0"/>
                </a:moveTo>
                <a:lnTo>
                  <a:pt x="971654" y="0"/>
                </a:lnTo>
                <a:lnTo>
                  <a:pt x="0" y="2096979"/>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Picture 4">
            <a:extLst>
              <a:ext uri="{FF2B5EF4-FFF2-40B4-BE49-F238E27FC236}">
                <a16:creationId xmlns:a16="http://schemas.microsoft.com/office/drawing/2014/main" id="{7A9B3055-A077-4530-84B5-30111882F0A7}"/>
              </a:ext>
            </a:extLst>
          </p:cNvPr>
          <p:cNvPicPr>
            <a:picLocks noChangeAspect="1"/>
          </p:cNvPicPr>
          <p:nvPr/>
        </p:nvPicPr>
        <p:blipFill>
          <a:blip r:embed="rId2"/>
          <a:stretch>
            <a:fillRect/>
          </a:stretch>
        </p:blipFill>
        <p:spPr>
          <a:xfrm>
            <a:off x="1540747" y="2020057"/>
            <a:ext cx="9110505" cy="4837943"/>
          </a:xfrm>
          <a:prstGeom prst="rect">
            <a:avLst/>
          </a:prstGeom>
        </p:spPr>
      </p:pic>
      <p:sp>
        <p:nvSpPr>
          <p:cNvPr id="14" name="Content Placeholder 13">
            <a:extLst>
              <a:ext uri="{FF2B5EF4-FFF2-40B4-BE49-F238E27FC236}">
                <a16:creationId xmlns:a16="http://schemas.microsoft.com/office/drawing/2014/main" id="{B061E7F7-A813-4743-98DE-59978CEC2AA1}"/>
              </a:ext>
            </a:extLst>
          </p:cNvPr>
          <p:cNvSpPr txBox="1">
            <a:spLocks noGrp="1"/>
          </p:cNvSpPr>
          <p:nvPr>
            <p:ph idx="1"/>
          </p:nvPr>
        </p:nvSpPr>
        <p:spPr>
          <a:xfrm>
            <a:off x="1352938" y="1692275"/>
            <a:ext cx="10000861" cy="327782"/>
          </a:xfrm>
          <a:prstGeom prst="rect">
            <a:avLst/>
          </a:prstGeom>
          <a:noFill/>
        </p:spPr>
        <p:txBody>
          <a:bodyPr wrap="square" rtlCol="0">
            <a:spAutoFit/>
          </a:bodyPr>
          <a:lstStyle/>
          <a:p>
            <a:pPr marL="0" indent="0">
              <a:buNone/>
            </a:pPr>
            <a:r>
              <a:rPr lang="en-US" sz="1700" dirty="0"/>
              <a:t>We found outliers with Total Charges but seems to be missing values so it will be handled</a:t>
            </a:r>
          </a:p>
        </p:txBody>
      </p:sp>
    </p:spTree>
    <p:extLst>
      <p:ext uri="{BB962C8B-B14F-4D97-AF65-F5344CB8AC3E}">
        <p14:creationId xmlns:p14="http://schemas.microsoft.com/office/powerpoint/2010/main" val="19684091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9919C-FC7F-49AF-8F05-DEA3D4CD1B7B}"/>
              </a:ext>
            </a:extLst>
          </p:cNvPr>
          <p:cNvSpPr>
            <a:spLocks noGrp="1"/>
          </p:cNvSpPr>
          <p:nvPr>
            <p:ph type="title"/>
          </p:nvPr>
        </p:nvSpPr>
        <p:spPr>
          <a:xfrm>
            <a:off x="1653363" y="365760"/>
            <a:ext cx="9367203" cy="701894"/>
          </a:xfrm>
        </p:spPr>
        <p:txBody>
          <a:bodyPr>
            <a:normAutofit/>
          </a:bodyPr>
          <a:lstStyle/>
          <a:p>
            <a:r>
              <a:rPr lang="en-US" kern="1200" dirty="0">
                <a:solidFill>
                  <a:schemeClr val="tx1"/>
                </a:solidFill>
                <a:latin typeface="+mj-lt"/>
                <a:ea typeface="+mj-ea"/>
                <a:cs typeface="+mj-cs"/>
              </a:rPr>
              <a:t>Preparing Data</a:t>
            </a:r>
            <a:endParaRPr lang="en-US" dirty="0"/>
          </a:p>
        </p:txBody>
      </p:sp>
      <p:sp>
        <p:nvSpPr>
          <p:cNvPr id="172" name="Freeform: Shape 110">
            <a:extLst>
              <a:ext uri="{FF2B5EF4-FFF2-40B4-BE49-F238E27FC236}">
                <a16:creationId xmlns:a16="http://schemas.microsoft.com/office/drawing/2014/main" id="{7CB4857B-ED7C-444D-9F04-2F885114A1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764099" cy="1558212"/>
          </a:xfrm>
          <a:custGeom>
            <a:avLst/>
            <a:gdLst>
              <a:gd name="connsiteX0" fmla="*/ 0 w 1764099"/>
              <a:gd name="connsiteY0" fmla="*/ 0 h 1558212"/>
              <a:gd name="connsiteX1" fmla="*/ 1764099 w 1764099"/>
              <a:gd name="connsiteY1" fmla="*/ 0 h 1558212"/>
              <a:gd name="connsiteX2" fmla="*/ 1042087 w 1764099"/>
              <a:gd name="connsiteY2" fmla="*/ 1558212 h 1558212"/>
              <a:gd name="connsiteX3" fmla="*/ 0 w 1764099"/>
              <a:gd name="connsiteY3" fmla="*/ 1558212 h 1558212"/>
            </a:gdLst>
            <a:ahLst/>
            <a:cxnLst>
              <a:cxn ang="0">
                <a:pos x="connsiteX0" y="connsiteY0"/>
              </a:cxn>
              <a:cxn ang="0">
                <a:pos x="connsiteX1" y="connsiteY1"/>
              </a:cxn>
              <a:cxn ang="0">
                <a:pos x="connsiteX2" y="connsiteY2"/>
              </a:cxn>
              <a:cxn ang="0">
                <a:pos x="connsiteX3" y="connsiteY3"/>
              </a:cxn>
            </a:cxnLst>
            <a:rect l="l" t="t" r="r" b="b"/>
            <a:pathLst>
              <a:path w="1764099" h="1558212">
                <a:moveTo>
                  <a:pt x="0" y="0"/>
                </a:moveTo>
                <a:lnTo>
                  <a:pt x="1764099" y="0"/>
                </a:lnTo>
                <a:lnTo>
                  <a:pt x="1042087" y="1558212"/>
                </a:lnTo>
                <a:lnTo>
                  <a:pt x="0" y="1558212"/>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3" name="Freeform: Shape 112">
            <a:extLst>
              <a:ext uri="{FF2B5EF4-FFF2-40B4-BE49-F238E27FC236}">
                <a16:creationId xmlns:a16="http://schemas.microsoft.com/office/drawing/2014/main" id="{D18046FB-44EA-4FD8-A585-EA09A319B2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691640"/>
            <a:ext cx="12191999" cy="5166360"/>
          </a:xfrm>
          <a:custGeom>
            <a:avLst/>
            <a:gdLst>
              <a:gd name="connsiteX0" fmla="*/ 0 w 12191999"/>
              <a:gd name="connsiteY0" fmla="*/ 0 h 5166360"/>
              <a:gd name="connsiteX1" fmla="*/ 1822388 w 12191999"/>
              <a:gd name="connsiteY1" fmla="*/ 0 h 5166360"/>
              <a:gd name="connsiteX2" fmla="*/ 6468290 w 12191999"/>
              <a:gd name="connsiteY2" fmla="*/ 0 h 5166360"/>
              <a:gd name="connsiteX3" fmla="*/ 7796394 w 12191999"/>
              <a:gd name="connsiteY3" fmla="*/ 0 h 5166360"/>
              <a:gd name="connsiteX4" fmla="*/ 8376834 w 12191999"/>
              <a:gd name="connsiteY4" fmla="*/ 0 h 5166360"/>
              <a:gd name="connsiteX5" fmla="*/ 9704938 w 12191999"/>
              <a:gd name="connsiteY5" fmla="*/ 0 h 5166360"/>
              <a:gd name="connsiteX6" fmla="*/ 9704938 w 12191999"/>
              <a:gd name="connsiteY6" fmla="*/ 2 h 5166360"/>
              <a:gd name="connsiteX7" fmla="*/ 10283456 w 12191999"/>
              <a:gd name="connsiteY7" fmla="*/ 2 h 5166360"/>
              <a:gd name="connsiteX8" fmla="*/ 10863897 w 12191999"/>
              <a:gd name="connsiteY8" fmla="*/ 2 h 5166360"/>
              <a:gd name="connsiteX9" fmla="*/ 12191999 w 12191999"/>
              <a:gd name="connsiteY9" fmla="*/ 2 h 5166360"/>
              <a:gd name="connsiteX10" fmla="*/ 12191999 w 12191999"/>
              <a:gd name="connsiteY10" fmla="*/ 5166360 h 5166360"/>
              <a:gd name="connsiteX11" fmla="*/ 0 w 12191999"/>
              <a:gd name="connsiteY11" fmla="*/ 5166360 h 5166360"/>
              <a:gd name="connsiteX12" fmla="*/ 0 w 12191999"/>
              <a:gd name="connsiteY12" fmla="*/ 2604436 h 5166360"/>
              <a:gd name="connsiteX13" fmla="*/ 862341 w 12191999"/>
              <a:gd name="connsiteY13" fmla="*/ 743371 h 5166360"/>
              <a:gd name="connsiteX14" fmla="*/ 0 w 12191999"/>
              <a:gd name="connsiteY14" fmla="*/ 743371 h 5166360"/>
              <a:gd name="connsiteX15" fmla="*/ 0 w 12191999"/>
              <a:gd name="connsiteY15" fmla="*/ 742508 h 5166360"/>
              <a:gd name="connsiteX16" fmla="*/ 92826 w 12191999"/>
              <a:gd name="connsiteY16" fmla="*/ 742508 h 5166360"/>
              <a:gd name="connsiteX17" fmla="*/ 406486 w 12191999"/>
              <a:gd name="connsiteY17" fmla="*/ 742508 h 5166360"/>
              <a:gd name="connsiteX18" fmla="*/ 406486 w 12191999"/>
              <a:gd name="connsiteY18" fmla="*/ 742507 h 5166360"/>
              <a:gd name="connsiteX19" fmla="*/ 862741 w 12191999"/>
              <a:gd name="connsiteY19" fmla="*/ 742507 h 5166360"/>
              <a:gd name="connsiteX20" fmla="*/ 1206388 w 12191999"/>
              <a:gd name="connsiteY20" fmla="*/ 864 h 5166360"/>
              <a:gd name="connsiteX21" fmla="*/ 748500 w 12191999"/>
              <a:gd name="connsiteY21" fmla="*/ 864 h 5166360"/>
              <a:gd name="connsiteX22" fmla="*/ 0 w 12191999"/>
              <a:gd name="connsiteY22" fmla="*/ 864 h 516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91999" h="5166360">
                <a:moveTo>
                  <a:pt x="0" y="0"/>
                </a:moveTo>
                <a:lnTo>
                  <a:pt x="1822388" y="0"/>
                </a:lnTo>
                <a:lnTo>
                  <a:pt x="6468290" y="0"/>
                </a:lnTo>
                <a:lnTo>
                  <a:pt x="7796394" y="0"/>
                </a:lnTo>
                <a:lnTo>
                  <a:pt x="8376834" y="0"/>
                </a:lnTo>
                <a:lnTo>
                  <a:pt x="9704938" y="0"/>
                </a:lnTo>
                <a:lnTo>
                  <a:pt x="9704938" y="2"/>
                </a:lnTo>
                <a:lnTo>
                  <a:pt x="10283456" y="2"/>
                </a:lnTo>
                <a:lnTo>
                  <a:pt x="10863897" y="2"/>
                </a:lnTo>
                <a:lnTo>
                  <a:pt x="12191999" y="2"/>
                </a:lnTo>
                <a:lnTo>
                  <a:pt x="12191999" y="5166360"/>
                </a:lnTo>
                <a:lnTo>
                  <a:pt x="0" y="5166360"/>
                </a:lnTo>
                <a:lnTo>
                  <a:pt x="0" y="2604436"/>
                </a:lnTo>
                <a:lnTo>
                  <a:pt x="862341" y="743371"/>
                </a:lnTo>
                <a:lnTo>
                  <a:pt x="0" y="743371"/>
                </a:lnTo>
                <a:lnTo>
                  <a:pt x="0" y="742508"/>
                </a:lnTo>
                <a:lnTo>
                  <a:pt x="92826" y="742508"/>
                </a:lnTo>
                <a:lnTo>
                  <a:pt x="406486" y="742508"/>
                </a:lnTo>
                <a:lnTo>
                  <a:pt x="406486" y="742507"/>
                </a:lnTo>
                <a:lnTo>
                  <a:pt x="862741" y="742507"/>
                </a:lnTo>
                <a:lnTo>
                  <a:pt x="1206388" y="864"/>
                </a:lnTo>
                <a:lnTo>
                  <a:pt x="748500" y="864"/>
                </a:lnTo>
                <a:lnTo>
                  <a:pt x="0" y="864"/>
                </a:lnTo>
                <a:close/>
              </a:path>
            </a:pathLst>
          </a:custGeom>
          <a:solidFill>
            <a:srgbClr val="A6A6A6">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4" name="Freeform: Shape 114">
            <a:extLst>
              <a:ext uri="{FF2B5EF4-FFF2-40B4-BE49-F238E27FC236}">
                <a16:creationId xmlns:a16="http://schemas.microsoft.com/office/drawing/2014/main" id="{479F5F2B-8B58-4140-AE6A-51F6C67B18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691641"/>
            <a:ext cx="971654" cy="2096979"/>
          </a:xfrm>
          <a:custGeom>
            <a:avLst/>
            <a:gdLst>
              <a:gd name="connsiteX0" fmla="*/ 0 w 971654"/>
              <a:gd name="connsiteY0" fmla="*/ 0 h 2096979"/>
              <a:gd name="connsiteX1" fmla="*/ 971654 w 971654"/>
              <a:gd name="connsiteY1" fmla="*/ 0 h 2096979"/>
              <a:gd name="connsiteX2" fmla="*/ 0 w 971654"/>
              <a:gd name="connsiteY2" fmla="*/ 2096979 h 2096979"/>
            </a:gdLst>
            <a:ahLst/>
            <a:cxnLst>
              <a:cxn ang="0">
                <a:pos x="connsiteX0" y="connsiteY0"/>
              </a:cxn>
              <a:cxn ang="0">
                <a:pos x="connsiteX1" y="connsiteY1"/>
              </a:cxn>
              <a:cxn ang="0">
                <a:pos x="connsiteX2" y="connsiteY2"/>
              </a:cxn>
            </a:cxnLst>
            <a:rect l="l" t="t" r="r" b="b"/>
            <a:pathLst>
              <a:path w="971654" h="2096979">
                <a:moveTo>
                  <a:pt x="0" y="0"/>
                </a:moveTo>
                <a:lnTo>
                  <a:pt x="971654" y="0"/>
                </a:lnTo>
                <a:lnTo>
                  <a:pt x="0" y="2096979"/>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Content Placeholder 13">
            <a:extLst>
              <a:ext uri="{FF2B5EF4-FFF2-40B4-BE49-F238E27FC236}">
                <a16:creationId xmlns:a16="http://schemas.microsoft.com/office/drawing/2014/main" id="{B061E7F7-A813-4743-98DE-59978CEC2AA1}"/>
              </a:ext>
            </a:extLst>
          </p:cNvPr>
          <p:cNvSpPr txBox="1">
            <a:spLocks noGrp="1"/>
          </p:cNvSpPr>
          <p:nvPr>
            <p:ph idx="1"/>
          </p:nvPr>
        </p:nvSpPr>
        <p:spPr>
          <a:xfrm>
            <a:off x="1352938" y="1692275"/>
            <a:ext cx="10000861" cy="327782"/>
          </a:xfrm>
          <a:prstGeom prst="rect">
            <a:avLst/>
          </a:prstGeom>
          <a:noFill/>
        </p:spPr>
        <p:txBody>
          <a:bodyPr wrap="square" rtlCol="0">
            <a:spAutoFit/>
          </a:bodyPr>
          <a:lstStyle/>
          <a:p>
            <a:pPr marL="0" indent="0">
              <a:buNone/>
            </a:pPr>
            <a:r>
              <a:rPr lang="en-US" sz="1700" dirty="0"/>
              <a:t>Tenure variable have potential to give more insights, so we are going to create a bins for further exploration</a:t>
            </a:r>
          </a:p>
        </p:txBody>
      </p:sp>
      <p:pic>
        <p:nvPicPr>
          <p:cNvPr id="4" name="Picture 3">
            <a:extLst>
              <a:ext uri="{FF2B5EF4-FFF2-40B4-BE49-F238E27FC236}">
                <a16:creationId xmlns:a16="http://schemas.microsoft.com/office/drawing/2014/main" id="{FACFBAD4-55F4-4307-BB26-A56F94E33572}"/>
              </a:ext>
            </a:extLst>
          </p:cNvPr>
          <p:cNvPicPr>
            <a:picLocks noChangeAspect="1"/>
          </p:cNvPicPr>
          <p:nvPr/>
        </p:nvPicPr>
        <p:blipFill>
          <a:blip r:embed="rId2"/>
          <a:stretch>
            <a:fillRect/>
          </a:stretch>
        </p:blipFill>
        <p:spPr>
          <a:xfrm>
            <a:off x="971654" y="2153485"/>
            <a:ext cx="10482158" cy="4704515"/>
          </a:xfrm>
          <a:prstGeom prst="rect">
            <a:avLst/>
          </a:prstGeom>
        </p:spPr>
      </p:pic>
    </p:spTree>
    <p:extLst>
      <p:ext uri="{BB962C8B-B14F-4D97-AF65-F5344CB8AC3E}">
        <p14:creationId xmlns:p14="http://schemas.microsoft.com/office/powerpoint/2010/main" val="41153036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9919C-FC7F-49AF-8F05-DEA3D4CD1B7B}"/>
              </a:ext>
            </a:extLst>
          </p:cNvPr>
          <p:cNvSpPr>
            <a:spLocks noGrp="1"/>
          </p:cNvSpPr>
          <p:nvPr>
            <p:ph type="title"/>
          </p:nvPr>
        </p:nvSpPr>
        <p:spPr>
          <a:xfrm>
            <a:off x="1653363" y="365760"/>
            <a:ext cx="9367203" cy="701894"/>
          </a:xfrm>
        </p:spPr>
        <p:txBody>
          <a:bodyPr>
            <a:normAutofit/>
          </a:bodyPr>
          <a:lstStyle/>
          <a:p>
            <a:r>
              <a:rPr lang="en-US" kern="1200" dirty="0">
                <a:solidFill>
                  <a:schemeClr val="tx1"/>
                </a:solidFill>
                <a:latin typeface="+mj-lt"/>
                <a:ea typeface="+mj-ea"/>
                <a:cs typeface="+mj-cs"/>
              </a:rPr>
              <a:t>Explore Dataset and Variables</a:t>
            </a:r>
            <a:endParaRPr lang="en-US" dirty="0"/>
          </a:p>
        </p:txBody>
      </p:sp>
      <p:sp>
        <p:nvSpPr>
          <p:cNvPr id="172" name="Freeform: Shape 110">
            <a:extLst>
              <a:ext uri="{FF2B5EF4-FFF2-40B4-BE49-F238E27FC236}">
                <a16:creationId xmlns:a16="http://schemas.microsoft.com/office/drawing/2014/main" id="{7CB4857B-ED7C-444D-9F04-2F885114A1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764099" cy="1558212"/>
          </a:xfrm>
          <a:custGeom>
            <a:avLst/>
            <a:gdLst>
              <a:gd name="connsiteX0" fmla="*/ 0 w 1764099"/>
              <a:gd name="connsiteY0" fmla="*/ 0 h 1558212"/>
              <a:gd name="connsiteX1" fmla="*/ 1764099 w 1764099"/>
              <a:gd name="connsiteY1" fmla="*/ 0 h 1558212"/>
              <a:gd name="connsiteX2" fmla="*/ 1042087 w 1764099"/>
              <a:gd name="connsiteY2" fmla="*/ 1558212 h 1558212"/>
              <a:gd name="connsiteX3" fmla="*/ 0 w 1764099"/>
              <a:gd name="connsiteY3" fmla="*/ 1558212 h 1558212"/>
            </a:gdLst>
            <a:ahLst/>
            <a:cxnLst>
              <a:cxn ang="0">
                <a:pos x="connsiteX0" y="connsiteY0"/>
              </a:cxn>
              <a:cxn ang="0">
                <a:pos x="connsiteX1" y="connsiteY1"/>
              </a:cxn>
              <a:cxn ang="0">
                <a:pos x="connsiteX2" y="connsiteY2"/>
              </a:cxn>
              <a:cxn ang="0">
                <a:pos x="connsiteX3" y="connsiteY3"/>
              </a:cxn>
            </a:cxnLst>
            <a:rect l="l" t="t" r="r" b="b"/>
            <a:pathLst>
              <a:path w="1764099" h="1558212">
                <a:moveTo>
                  <a:pt x="0" y="0"/>
                </a:moveTo>
                <a:lnTo>
                  <a:pt x="1764099" y="0"/>
                </a:lnTo>
                <a:lnTo>
                  <a:pt x="1042087" y="1558212"/>
                </a:lnTo>
                <a:lnTo>
                  <a:pt x="0" y="1558212"/>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3" name="Freeform: Shape 112">
            <a:extLst>
              <a:ext uri="{FF2B5EF4-FFF2-40B4-BE49-F238E27FC236}">
                <a16:creationId xmlns:a16="http://schemas.microsoft.com/office/drawing/2014/main" id="{D18046FB-44EA-4FD8-A585-EA09A319B2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691640"/>
            <a:ext cx="12191999" cy="5166360"/>
          </a:xfrm>
          <a:custGeom>
            <a:avLst/>
            <a:gdLst>
              <a:gd name="connsiteX0" fmla="*/ 0 w 12191999"/>
              <a:gd name="connsiteY0" fmla="*/ 0 h 5166360"/>
              <a:gd name="connsiteX1" fmla="*/ 1822388 w 12191999"/>
              <a:gd name="connsiteY1" fmla="*/ 0 h 5166360"/>
              <a:gd name="connsiteX2" fmla="*/ 6468290 w 12191999"/>
              <a:gd name="connsiteY2" fmla="*/ 0 h 5166360"/>
              <a:gd name="connsiteX3" fmla="*/ 7796394 w 12191999"/>
              <a:gd name="connsiteY3" fmla="*/ 0 h 5166360"/>
              <a:gd name="connsiteX4" fmla="*/ 8376834 w 12191999"/>
              <a:gd name="connsiteY4" fmla="*/ 0 h 5166360"/>
              <a:gd name="connsiteX5" fmla="*/ 9704938 w 12191999"/>
              <a:gd name="connsiteY5" fmla="*/ 0 h 5166360"/>
              <a:gd name="connsiteX6" fmla="*/ 9704938 w 12191999"/>
              <a:gd name="connsiteY6" fmla="*/ 2 h 5166360"/>
              <a:gd name="connsiteX7" fmla="*/ 10283456 w 12191999"/>
              <a:gd name="connsiteY7" fmla="*/ 2 h 5166360"/>
              <a:gd name="connsiteX8" fmla="*/ 10863897 w 12191999"/>
              <a:gd name="connsiteY8" fmla="*/ 2 h 5166360"/>
              <a:gd name="connsiteX9" fmla="*/ 12191999 w 12191999"/>
              <a:gd name="connsiteY9" fmla="*/ 2 h 5166360"/>
              <a:gd name="connsiteX10" fmla="*/ 12191999 w 12191999"/>
              <a:gd name="connsiteY10" fmla="*/ 5166360 h 5166360"/>
              <a:gd name="connsiteX11" fmla="*/ 0 w 12191999"/>
              <a:gd name="connsiteY11" fmla="*/ 5166360 h 5166360"/>
              <a:gd name="connsiteX12" fmla="*/ 0 w 12191999"/>
              <a:gd name="connsiteY12" fmla="*/ 2604436 h 5166360"/>
              <a:gd name="connsiteX13" fmla="*/ 862341 w 12191999"/>
              <a:gd name="connsiteY13" fmla="*/ 743371 h 5166360"/>
              <a:gd name="connsiteX14" fmla="*/ 0 w 12191999"/>
              <a:gd name="connsiteY14" fmla="*/ 743371 h 5166360"/>
              <a:gd name="connsiteX15" fmla="*/ 0 w 12191999"/>
              <a:gd name="connsiteY15" fmla="*/ 742508 h 5166360"/>
              <a:gd name="connsiteX16" fmla="*/ 92826 w 12191999"/>
              <a:gd name="connsiteY16" fmla="*/ 742508 h 5166360"/>
              <a:gd name="connsiteX17" fmla="*/ 406486 w 12191999"/>
              <a:gd name="connsiteY17" fmla="*/ 742508 h 5166360"/>
              <a:gd name="connsiteX18" fmla="*/ 406486 w 12191999"/>
              <a:gd name="connsiteY18" fmla="*/ 742507 h 5166360"/>
              <a:gd name="connsiteX19" fmla="*/ 862741 w 12191999"/>
              <a:gd name="connsiteY19" fmla="*/ 742507 h 5166360"/>
              <a:gd name="connsiteX20" fmla="*/ 1206388 w 12191999"/>
              <a:gd name="connsiteY20" fmla="*/ 864 h 5166360"/>
              <a:gd name="connsiteX21" fmla="*/ 748500 w 12191999"/>
              <a:gd name="connsiteY21" fmla="*/ 864 h 5166360"/>
              <a:gd name="connsiteX22" fmla="*/ 0 w 12191999"/>
              <a:gd name="connsiteY22" fmla="*/ 864 h 516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91999" h="5166360">
                <a:moveTo>
                  <a:pt x="0" y="0"/>
                </a:moveTo>
                <a:lnTo>
                  <a:pt x="1822388" y="0"/>
                </a:lnTo>
                <a:lnTo>
                  <a:pt x="6468290" y="0"/>
                </a:lnTo>
                <a:lnTo>
                  <a:pt x="7796394" y="0"/>
                </a:lnTo>
                <a:lnTo>
                  <a:pt x="8376834" y="0"/>
                </a:lnTo>
                <a:lnTo>
                  <a:pt x="9704938" y="0"/>
                </a:lnTo>
                <a:lnTo>
                  <a:pt x="9704938" y="2"/>
                </a:lnTo>
                <a:lnTo>
                  <a:pt x="10283456" y="2"/>
                </a:lnTo>
                <a:lnTo>
                  <a:pt x="10863897" y="2"/>
                </a:lnTo>
                <a:lnTo>
                  <a:pt x="12191999" y="2"/>
                </a:lnTo>
                <a:lnTo>
                  <a:pt x="12191999" y="5166360"/>
                </a:lnTo>
                <a:lnTo>
                  <a:pt x="0" y="5166360"/>
                </a:lnTo>
                <a:lnTo>
                  <a:pt x="0" y="2604436"/>
                </a:lnTo>
                <a:lnTo>
                  <a:pt x="862341" y="743371"/>
                </a:lnTo>
                <a:lnTo>
                  <a:pt x="0" y="743371"/>
                </a:lnTo>
                <a:lnTo>
                  <a:pt x="0" y="742508"/>
                </a:lnTo>
                <a:lnTo>
                  <a:pt x="92826" y="742508"/>
                </a:lnTo>
                <a:lnTo>
                  <a:pt x="406486" y="742508"/>
                </a:lnTo>
                <a:lnTo>
                  <a:pt x="406486" y="742507"/>
                </a:lnTo>
                <a:lnTo>
                  <a:pt x="862741" y="742507"/>
                </a:lnTo>
                <a:lnTo>
                  <a:pt x="1206388" y="864"/>
                </a:lnTo>
                <a:lnTo>
                  <a:pt x="748500" y="864"/>
                </a:lnTo>
                <a:lnTo>
                  <a:pt x="0" y="864"/>
                </a:lnTo>
                <a:close/>
              </a:path>
            </a:pathLst>
          </a:custGeom>
          <a:solidFill>
            <a:srgbClr val="A6A6A6">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4" name="Freeform: Shape 114">
            <a:extLst>
              <a:ext uri="{FF2B5EF4-FFF2-40B4-BE49-F238E27FC236}">
                <a16:creationId xmlns:a16="http://schemas.microsoft.com/office/drawing/2014/main" id="{479F5F2B-8B58-4140-AE6A-51F6C67B18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691641"/>
            <a:ext cx="971654" cy="2096979"/>
          </a:xfrm>
          <a:custGeom>
            <a:avLst/>
            <a:gdLst>
              <a:gd name="connsiteX0" fmla="*/ 0 w 971654"/>
              <a:gd name="connsiteY0" fmla="*/ 0 h 2096979"/>
              <a:gd name="connsiteX1" fmla="*/ 971654 w 971654"/>
              <a:gd name="connsiteY1" fmla="*/ 0 h 2096979"/>
              <a:gd name="connsiteX2" fmla="*/ 0 w 971654"/>
              <a:gd name="connsiteY2" fmla="*/ 2096979 h 2096979"/>
            </a:gdLst>
            <a:ahLst/>
            <a:cxnLst>
              <a:cxn ang="0">
                <a:pos x="connsiteX0" y="connsiteY0"/>
              </a:cxn>
              <a:cxn ang="0">
                <a:pos x="connsiteX1" y="connsiteY1"/>
              </a:cxn>
              <a:cxn ang="0">
                <a:pos x="connsiteX2" y="connsiteY2"/>
              </a:cxn>
            </a:cxnLst>
            <a:rect l="l" t="t" r="r" b="b"/>
            <a:pathLst>
              <a:path w="971654" h="2096979">
                <a:moveTo>
                  <a:pt x="0" y="0"/>
                </a:moveTo>
                <a:lnTo>
                  <a:pt x="971654" y="0"/>
                </a:lnTo>
                <a:lnTo>
                  <a:pt x="0" y="2096979"/>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TextBox 8">
            <a:extLst>
              <a:ext uri="{FF2B5EF4-FFF2-40B4-BE49-F238E27FC236}">
                <a16:creationId xmlns:a16="http://schemas.microsoft.com/office/drawing/2014/main" id="{F4584037-8A60-4410-9259-4AD7CFCE61C9}"/>
              </a:ext>
            </a:extLst>
          </p:cNvPr>
          <p:cNvSpPr txBox="1"/>
          <p:nvPr/>
        </p:nvSpPr>
        <p:spPr>
          <a:xfrm>
            <a:off x="1466850" y="5218351"/>
            <a:ext cx="9886950" cy="353943"/>
          </a:xfrm>
          <a:prstGeom prst="rect">
            <a:avLst/>
          </a:prstGeom>
          <a:noFill/>
        </p:spPr>
        <p:txBody>
          <a:bodyPr wrap="square" rtlCol="0">
            <a:spAutoFit/>
          </a:bodyPr>
          <a:lstStyle/>
          <a:p>
            <a:r>
              <a:rPr lang="en-US" sz="1700" dirty="0"/>
              <a:t>Churn on tenure group seems to have some relationship which can be furthered explored</a:t>
            </a:r>
          </a:p>
        </p:txBody>
      </p:sp>
      <p:sp>
        <p:nvSpPr>
          <p:cNvPr id="19" name="TextBox 18">
            <a:extLst>
              <a:ext uri="{FF2B5EF4-FFF2-40B4-BE49-F238E27FC236}">
                <a16:creationId xmlns:a16="http://schemas.microsoft.com/office/drawing/2014/main" id="{4E92F6BD-766C-4497-A187-1B5EED325982}"/>
              </a:ext>
            </a:extLst>
          </p:cNvPr>
          <p:cNvSpPr txBox="1"/>
          <p:nvPr/>
        </p:nvSpPr>
        <p:spPr>
          <a:xfrm>
            <a:off x="1466850" y="1677906"/>
            <a:ext cx="9734550" cy="369332"/>
          </a:xfrm>
          <a:prstGeom prst="rect">
            <a:avLst/>
          </a:prstGeom>
          <a:noFill/>
        </p:spPr>
        <p:txBody>
          <a:bodyPr wrap="square" rtlCol="0">
            <a:spAutoFit/>
          </a:bodyPr>
          <a:lstStyle>
            <a:defPPr>
              <a:defRPr lang="en-US"/>
            </a:defPPr>
            <a:lvl1pPr algn="ctr"/>
          </a:lstStyle>
          <a:p>
            <a:r>
              <a:rPr lang="en-US" dirty="0"/>
              <a:t>Churn vs tenure group</a:t>
            </a:r>
          </a:p>
        </p:txBody>
      </p:sp>
      <p:pic>
        <p:nvPicPr>
          <p:cNvPr id="4098" name="Picture 2">
            <a:extLst>
              <a:ext uri="{FF2B5EF4-FFF2-40B4-BE49-F238E27FC236}">
                <a16:creationId xmlns:a16="http://schemas.microsoft.com/office/drawing/2014/main" id="{487A8401-10CA-4BE1-A92A-CE04503ACBEA}"/>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266824" y="2143187"/>
            <a:ext cx="10086975" cy="30751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47414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9919C-FC7F-49AF-8F05-DEA3D4CD1B7B}"/>
              </a:ext>
            </a:extLst>
          </p:cNvPr>
          <p:cNvSpPr>
            <a:spLocks noGrp="1"/>
          </p:cNvSpPr>
          <p:nvPr>
            <p:ph type="title"/>
          </p:nvPr>
        </p:nvSpPr>
        <p:spPr>
          <a:xfrm>
            <a:off x="1653363" y="365760"/>
            <a:ext cx="9367203" cy="701894"/>
          </a:xfrm>
        </p:spPr>
        <p:txBody>
          <a:bodyPr>
            <a:normAutofit/>
          </a:bodyPr>
          <a:lstStyle/>
          <a:p>
            <a:r>
              <a:rPr lang="en-US" kern="1200" dirty="0">
                <a:solidFill>
                  <a:schemeClr val="tx1"/>
                </a:solidFill>
                <a:latin typeface="+mj-lt"/>
                <a:ea typeface="+mj-ea"/>
                <a:cs typeface="+mj-cs"/>
              </a:rPr>
              <a:t>Explore Dataset and Variables</a:t>
            </a:r>
            <a:endParaRPr lang="en-US" dirty="0"/>
          </a:p>
        </p:txBody>
      </p:sp>
      <p:sp>
        <p:nvSpPr>
          <p:cNvPr id="172" name="Freeform: Shape 110">
            <a:extLst>
              <a:ext uri="{FF2B5EF4-FFF2-40B4-BE49-F238E27FC236}">
                <a16:creationId xmlns:a16="http://schemas.microsoft.com/office/drawing/2014/main" id="{7CB4857B-ED7C-444D-9F04-2F885114A1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764099" cy="1558212"/>
          </a:xfrm>
          <a:custGeom>
            <a:avLst/>
            <a:gdLst>
              <a:gd name="connsiteX0" fmla="*/ 0 w 1764099"/>
              <a:gd name="connsiteY0" fmla="*/ 0 h 1558212"/>
              <a:gd name="connsiteX1" fmla="*/ 1764099 w 1764099"/>
              <a:gd name="connsiteY1" fmla="*/ 0 h 1558212"/>
              <a:gd name="connsiteX2" fmla="*/ 1042087 w 1764099"/>
              <a:gd name="connsiteY2" fmla="*/ 1558212 h 1558212"/>
              <a:gd name="connsiteX3" fmla="*/ 0 w 1764099"/>
              <a:gd name="connsiteY3" fmla="*/ 1558212 h 1558212"/>
            </a:gdLst>
            <a:ahLst/>
            <a:cxnLst>
              <a:cxn ang="0">
                <a:pos x="connsiteX0" y="connsiteY0"/>
              </a:cxn>
              <a:cxn ang="0">
                <a:pos x="connsiteX1" y="connsiteY1"/>
              </a:cxn>
              <a:cxn ang="0">
                <a:pos x="connsiteX2" y="connsiteY2"/>
              </a:cxn>
              <a:cxn ang="0">
                <a:pos x="connsiteX3" y="connsiteY3"/>
              </a:cxn>
            </a:cxnLst>
            <a:rect l="l" t="t" r="r" b="b"/>
            <a:pathLst>
              <a:path w="1764099" h="1558212">
                <a:moveTo>
                  <a:pt x="0" y="0"/>
                </a:moveTo>
                <a:lnTo>
                  <a:pt x="1764099" y="0"/>
                </a:lnTo>
                <a:lnTo>
                  <a:pt x="1042087" y="1558212"/>
                </a:lnTo>
                <a:lnTo>
                  <a:pt x="0" y="1558212"/>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3" name="Freeform: Shape 112">
            <a:extLst>
              <a:ext uri="{FF2B5EF4-FFF2-40B4-BE49-F238E27FC236}">
                <a16:creationId xmlns:a16="http://schemas.microsoft.com/office/drawing/2014/main" id="{D18046FB-44EA-4FD8-A585-EA09A319B2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691640"/>
            <a:ext cx="12191999" cy="5166360"/>
          </a:xfrm>
          <a:custGeom>
            <a:avLst/>
            <a:gdLst>
              <a:gd name="connsiteX0" fmla="*/ 0 w 12191999"/>
              <a:gd name="connsiteY0" fmla="*/ 0 h 5166360"/>
              <a:gd name="connsiteX1" fmla="*/ 1822388 w 12191999"/>
              <a:gd name="connsiteY1" fmla="*/ 0 h 5166360"/>
              <a:gd name="connsiteX2" fmla="*/ 6468290 w 12191999"/>
              <a:gd name="connsiteY2" fmla="*/ 0 h 5166360"/>
              <a:gd name="connsiteX3" fmla="*/ 7796394 w 12191999"/>
              <a:gd name="connsiteY3" fmla="*/ 0 h 5166360"/>
              <a:gd name="connsiteX4" fmla="*/ 8376834 w 12191999"/>
              <a:gd name="connsiteY4" fmla="*/ 0 h 5166360"/>
              <a:gd name="connsiteX5" fmla="*/ 9704938 w 12191999"/>
              <a:gd name="connsiteY5" fmla="*/ 0 h 5166360"/>
              <a:gd name="connsiteX6" fmla="*/ 9704938 w 12191999"/>
              <a:gd name="connsiteY6" fmla="*/ 2 h 5166360"/>
              <a:gd name="connsiteX7" fmla="*/ 10283456 w 12191999"/>
              <a:gd name="connsiteY7" fmla="*/ 2 h 5166360"/>
              <a:gd name="connsiteX8" fmla="*/ 10863897 w 12191999"/>
              <a:gd name="connsiteY8" fmla="*/ 2 h 5166360"/>
              <a:gd name="connsiteX9" fmla="*/ 12191999 w 12191999"/>
              <a:gd name="connsiteY9" fmla="*/ 2 h 5166360"/>
              <a:gd name="connsiteX10" fmla="*/ 12191999 w 12191999"/>
              <a:gd name="connsiteY10" fmla="*/ 5166360 h 5166360"/>
              <a:gd name="connsiteX11" fmla="*/ 0 w 12191999"/>
              <a:gd name="connsiteY11" fmla="*/ 5166360 h 5166360"/>
              <a:gd name="connsiteX12" fmla="*/ 0 w 12191999"/>
              <a:gd name="connsiteY12" fmla="*/ 2604436 h 5166360"/>
              <a:gd name="connsiteX13" fmla="*/ 862341 w 12191999"/>
              <a:gd name="connsiteY13" fmla="*/ 743371 h 5166360"/>
              <a:gd name="connsiteX14" fmla="*/ 0 w 12191999"/>
              <a:gd name="connsiteY14" fmla="*/ 743371 h 5166360"/>
              <a:gd name="connsiteX15" fmla="*/ 0 w 12191999"/>
              <a:gd name="connsiteY15" fmla="*/ 742508 h 5166360"/>
              <a:gd name="connsiteX16" fmla="*/ 92826 w 12191999"/>
              <a:gd name="connsiteY16" fmla="*/ 742508 h 5166360"/>
              <a:gd name="connsiteX17" fmla="*/ 406486 w 12191999"/>
              <a:gd name="connsiteY17" fmla="*/ 742508 h 5166360"/>
              <a:gd name="connsiteX18" fmla="*/ 406486 w 12191999"/>
              <a:gd name="connsiteY18" fmla="*/ 742507 h 5166360"/>
              <a:gd name="connsiteX19" fmla="*/ 862741 w 12191999"/>
              <a:gd name="connsiteY19" fmla="*/ 742507 h 5166360"/>
              <a:gd name="connsiteX20" fmla="*/ 1206388 w 12191999"/>
              <a:gd name="connsiteY20" fmla="*/ 864 h 5166360"/>
              <a:gd name="connsiteX21" fmla="*/ 748500 w 12191999"/>
              <a:gd name="connsiteY21" fmla="*/ 864 h 5166360"/>
              <a:gd name="connsiteX22" fmla="*/ 0 w 12191999"/>
              <a:gd name="connsiteY22" fmla="*/ 864 h 516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91999" h="5166360">
                <a:moveTo>
                  <a:pt x="0" y="0"/>
                </a:moveTo>
                <a:lnTo>
                  <a:pt x="1822388" y="0"/>
                </a:lnTo>
                <a:lnTo>
                  <a:pt x="6468290" y="0"/>
                </a:lnTo>
                <a:lnTo>
                  <a:pt x="7796394" y="0"/>
                </a:lnTo>
                <a:lnTo>
                  <a:pt x="8376834" y="0"/>
                </a:lnTo>
                <a:lnTo>
                  <a:pt x="9704938" y="0"/>
                </a:lnTo>
                <a:lnTo>
                  <a:pt x="9704938" y="2"/>
                </a:lnTo>
                <a:lnTo>
                  <a:pt x="10283456" y="2"/>
                </a:lnTo>
                <a:lnTo>
                  <a:pt x="10863897" y="2"/>
                </a:lnTo>
                <a:lnTo>
                  <a:pt x="12191999" y="2"/>
                </a:lnTo>
                <a:lnTo>
                  <a:pt x="12191999" y="5166360"/>
                </a:lnTo>
                <a:lnTo>
                  <a:pt x="0" y="5166360"/>
                </a:lnTo>
                <a:lnTo>
                  <a:pt x="0" y="2604436"/>
                </a:lnTo>
                <a:lnTo>
                  <a:pt x="862341" y="743371"/>
                </a:lnTo>
                <a:lnTo>
                  <a:pt x="0" y="743371"/>
                </a:lnTo>
                <a:lnTo>
                  <a:pt x="0" y="742508"/>
                </a:lnTo>
                <a:lnTo>
                  <a:pt x="92826" y="742508"/>
                </a:lnTo>
                <a:lnTo>
                  <a:pt x="406486" y="742508"/>
                </a:lnTo>
                <a:lnTo>
                  <a:pt x="406486" y="742507"/>
                </a:lnTo>
                <a:lnTo>
                  <a:pt x="862741" y="742507"/>
                </a:lnTo>
                <a:lnTo>
                  <a:pt x="1206388" y="864"/>
                </a:lnTo>
                <a:lnTo>
                  <a:pt x="748500" y="864"/>
                </a:lnTo>
                <a:lnTo>
                  <a:pt x="0" y="864"/>
                </a:lnTo>
                <a:close/>
              </a:path>
            </a:pathLst>
          </a:custGeom>
          <a:solidFill>
            <a:srgbClr val="A6A6A6">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4" name="Freeform: Shape 114">
            <a:extLst>
              <a:ext uri="{FF2B5EF4-FFF2-40B4-BE49-F238E27FC236}">
                <a16:creationId xmlns:a16="http://schemas.microsoft.com/office/drawing/2014/main" id="{479F5F2B-8B58-4140-AE6A-51F6C67B18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691641"/>
            <a:ext cx="971654" cy="2096979"/>
          </a:xfrm>
          <a:custGeom>
            <a:avLst/>
            <a:gdLst>
              <a:gd name="connsiteX0" fmla="*/ 0 w 971654"/>
              <a:gd name="connsiteY0" fmla="*/ 0 h 2096979"/>
              <a:gd name="connsiteX1" fmla="*/ 971654 w 971654"/>
              <a:gd name="connsiteY1" fmla="*/ 0 h 2096979"/>
              <a:gd name="connsiteX2" fmla="*/ 0 w 971654"/>
              <a:gd name="connsiteY2" fmla="*/ 2096979 h 2096979"/>
            </a:gdLst>
            <a:ahLst/>
            <a:cxnLst>
              <a:cxn ang="0">
                <a:pos x="connsiteX0" y="connsiteY0"/>
              </a:cxn>
              <a:cxn ang="0">
                <a:pos x="connsiteX1" y="connsiteY1"/>
              </a:cxn>
              <a:cxn ang="0">
                <a:pos x="connsiteX2" y="connsiteY2"/>
              </a:cxn>
            </a:cxnLst>
            <a:rect l="l" t="t" r="r" b="b"/>
            <a:pathLst>
              <a:path w="971654" h="2096979">
                <a:moveTo>
                  <a:pt x="0" y="0"/>
                </a:moveTo>
                <a:lnTo>
                  <a:pt x="971654" y="0"/>
                </a:lnTo>
                <a:lnTo>
                  <a:pt x="0" y="2096979"/>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TextBox 18">
            <a:extLst>
              <a:ext uri="{FF2B5EF4-FFF2-40B4-BE49-F238E27FC236}">
                <a16:creationId xmlns:a16="http://schemas.microsoft.com/office/drawing/2014/main" id="{4E92F6BD-766C-4497-A187-1B5EED325982}"/>
              </a:ext>
            </a:extLst>
          </p:cNvPr>
          <p:cNvSpPr txBox="1"/>
          <p:nvPr/>
        </p:nvSpPr>
        <p:spPr>
          <a:xfrm>
            <a:off x="1466850" y="1677906"/>
            <a:ext cx="9734550" cy="369332"/>
          </a:xfrm>
          <a:prstGeom prst="rect">
            <a:avLst/>
          </a:prstGeom>
          <a:noFill/>
        </p:spPr>
        <p:txBody>
          <a:bodyPr wrap="square" rtlCol="0">
            <a:spAutoFit/>
          </a:bodyPr>
          <a:lstStyle>
            <a:defPPr>
              <a:defRPr lang="en-US"/>
            </a:defPPr>
            <a:lvl1pPr algn="ctr"/>
          </a:lstStyle>
          <a:p>
            <a:r>
              <a:rPr lang="en-US" dirty="0"/>
              <a:t>Churn vs Monthly Charges - Histogram</a:t>
            </a:r>
          </a:p>
        </p:txBody>
      </p:sp>
      <p:pic>
        <p:nvPicPr>
          <p:cNvPr id="5" name="Picture 4">
            <a:extLst>
              <a:ext uri="{FF2B5EF4-FFF2-40B4-BE49-F238E27FC236}">
                <a16:creationId xmlns:a16="http://schemas.microsoft.com/office/drawing/2014/main" id="{E9BBDCFE-139C-49FD-84B8-22D84494F234}"/>
              </a:ext>
            </a:extLst>
          </p:cNvPr>
          <p:cNvPicPr>
            <a:picLocks noChangeAspect="1"/>
          </p:cNvPicPr>
          <p:nvPr/>
        </p:nvPicPr>
        <p:blipFill>
          <a:blip r:embed="rId2"/>
          <a:stretch>
            <a:fillRect/>
          </a:stretch>
        </p:blipFill>
        <p:spPr>
          <a:xfrm>
            <a:off x="1257300" y="2060972"/>
            <a:ext cx="9677400" cy="4591498"/>
          </a:xfrm>
          <a:prstGeom prst="rect">
            <a:avLst/>
          </a:prstGeom>
        </p:spPr>
      </p:pic>
    </p:spTree>
    <p:extLst>
      <p:ext uri="{BB962C8B-B14F-4D97-AF65-F5344CB8AC3E}">
        <p14:creationId xmlns:p14="http://schemas.microsoft.com/office/powerpoint/2010/main" val="42446684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_pUJuKHg93S41aMzmvqm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resentation Body and Information Slides">
  <a:themeElements>
    <a:clrScheme name="Custom 2">
      <a:dk1>
        <a:srgbClr val="404040"/>
      </a:dk1>
      <a:lt1>
        <a:srgbClr val="FFFFFF"/>
      </a:lt1>
      <a:dk2>
        <a:srgbClr val="000000"/>
      </a:dk2>
      <a:lt2>
        <a:srgbClr val="E8E8E8"/>
      </a:lt2>
      <a:accent1>
        <a:srgbClr val="E20074"/>
      </a:accent1>
      <a:accent2>
        <a:srgbClr val="6A6A6A"/>
      </a:accent2>
      <a:accent3>
        <a:srgbClr val="9B9B9B"/>
      </a:accent3>
      <a:accent4>
        <a:srgbClr val="E8E8E8"/>
      </a:accent4>
      <a:accent5>
        <a:srgbClr val="000000"/>
      </a:accent5>
      <a:accent6>
        <a:srgbClr val="A1A1A1"/>
      </a:accent6>
      <a:hlink>
        <a:srgbClr val="E20074"/>
      </a:hlink>
      <a:folHlink>
        <a:srgbClr val="000000"/>
      </a:folHlink>
    </a:clrScheme>
    <a:fontScheme name="T-Mobile Tele">
      <a:majorFont>
        <a:latin typeface="Tele-GroteskFet"/>
        <a:ea typeface=""/>
        <a:cs typeface=""/>
      </a:majorFont>
      <a:minorFont>
        <a:latin typeface="Tele-GroteskNo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9050">
          <a:solidFill>
            <a:schemeClr val="accent3"/>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dirty="0">
            <a:latin typeface="Tele-GroteskNor" pitchFamily="2" charset="0"/>
            <a:cs typeface="Arial" pitchFamily="34" charset="0"/>
          </a:defRPr>
        </a:defPPr>
      </a:lstStyle>
    </a:tx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11557</TotalTime>
  <Words>566</Words>
  <Application>Microsoft Office PowerPoint</Application>
  <PresentationFormat>Widescreen</PresentationFormat>
  <Paragraphs>59</Paragraphs>
  <Slides>19</Slides>
  <Notes>0</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31" baseType="lpstr">
      <vt:lpstr>Arial</vt:lpstr>
      <vt:lpstr>Calibri</vt:lpstr>
      <vt:lpstr>Calibri Light</vt:lpstr>
      <vt:lpstr>Segoe UI</vt:lpstr>
      <vt:lpstr>Tele-GroteskFet</vt:lpstr>
      <vt:lpstr>Tele-GroteskHal</vt:lpstr>
      <vt:lpstr>Tele-GroteskNor</vt:lpstr>
      <vt:lpstr>Tele-GroteskUlt</vt:lpstr>
      <vt:lpstr>Wingdings</vt:lpstr>
      <vt:lpstr>Office Theme</vt:lpstr>
      <vt:lpstr>Presentation Body and Information Slides</vt:lpstr>
      <vt:lpstr>think-cell Slide</vt:lpstr>
      <vt:lpstr>Telecom Churn Analysis</vt:lpstr>
      <vt:lpstr>Dataset &amp; Variables</vt:lpstr>
      <vt:lpstr>Dataset &amp; Variables- Visualization</vt:lpstr>
      <vt:lpstr>Explore Dataset and Variables</vt:lpstr>
      <vt:lpstr>Explore Dataset and Variables</vt:lpstr>
      <vt:lpstr>Cleansing Data for Outlier</vt:lpstr>
      <vt:lpstr>Preparing Data</vt:lpstr>
      <vt:lpstr>Explore Dataset and Variables</vt:lpstr>
      <vt:lpstr>Explore Dataset and Variables</vt:lpstr>
      <vt:lpstr>Explore Dataset and Variables</vt:lpstr>
      <vt:lpstr>Count, Mean, STD, MIN, Percentile, MAX</vt:lpstr>
      <vt:lpstr>Covariance, Correlation and Spearman</vt:lpstr>
      <vt:lpstr>PMF</vt:lpstr>
      <vt:lpstr>CDF</vt:lpstr>
      <vt:lpstr>Normal Distribution</vt:lpstr>
      <vt:lpstr>Distribution</vt:lpstr>
      <vt:lpstr>Conclusions/Remarks</vt:lpstr>
      <vt:lpstr>Logistic Regression</vt:lpstr>
      <vt:lpstr>Logistic Regression - Evalu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qvantran21@gmail.com</dc:creator>
  <cp:lastModifiedBy>Sanaulla, Mohamed Idhrees</cp:lastModifiedBy>
  <cp:revision>42</cp:revision>
  <dcterms:created xsi:type="dcterms:W3CDTF">2022-02-17T15:49:35Z</dcterms:created>
  <dcterms:modified xsi:type="dcterms:W3CDTF">2022-03-06T03:22:07Z</dcterms:modified>
</cp:coreProperties>
</file>